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2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5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theme/theme7.xml" ContentType="application/vnd.openxmlformats-officedocument.theme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theme/theme8.xml" ContentType="application/vnd.openxmlformats-officedocument.theme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theme/theme9.xml" ContentType="application/vnd.openxmlformats-officedocument.theme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26" r:id="rId5"/>
    <p:sldMasterId id="2147483747" r:id="rId6"/>
    <p:sldMasterId id="2147483810" r:id="rId7"/>
    <p:sldMasterId id="2147483876" r:id="rId8"/>
    <p:sldMasterId id="2147483887" r:id="rId9"/>
    <p:sldMasterId id="2147483959" r:id="rId10"/>
    <p:sldMasterId id="2147484087" r:id="rId11"/>
    <p:sldMasterId id="2147484099" r:id="rId12"/>
    <p:sldMasterId id="2147484114" r:id="rId13"/>
  </p:sldMasterIdLst>
  <p:notesMasterIdLst>
    <p:notesMasterId r:id="rId30"/>
  </p:notesMasterIdLst>
  <p:sldIdLst>
    <p:sldId id="289" r:id="rId14"/>
    <p:sldId id="6028" r:id="rId15"/>
    <p:sldId id="6027" r:id="rId16"/>
    <p:sldId id="6014" r:id="rId17"/>
    <p:sldId id="6025" r:id="rId18"/>
    <p:sldId id="6024" r:id="rId19"/>
    <p:sldId id="6023" r:id="rId20"/>
    <p:sldId id="6022" r:id="rId21"/>
    <p:sldId id="6021" r:id="rId22"/>
    <p:sldId id="6020" r:id="rId23"/>
    <p:sldId id="6019" r:id="rId24"/>
    <p:sldId id="6018" r:id="rId25"/>
    <p:sldId id="6017" r:id="rId26"/>
    <p:sldId id="6016" r:id="rId27"/>
    <p:sldId id="6015" r:id="rId28"/>
    <p:sldId id="325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DF9493D-A4D8-9B48-CD8E-398124593EBD}" name="Wei Jing TEY" initials="WJT" userId="S::weijing.tey@kereval.com::38449325-11be-4fce-8612-3a6e80ad0dab" providerId="AD"/>
  <p188:author id="{A24C1877-3A4A-154E-FF9A-B41670159077}" name="HERMANS Alexander (DIGIT-EXT)" initials="H(" userId="S::alexander.hermans@ext.ec.europa.eu::7c993837-a87c-46e7-9cfc-1c23ec9b69ac" providerId="AD"/>
  <p188:author id="{FAAA21AF-12C0-2EC7-2FDF-9F92F76631C0}" name="DIMITRIOU Jerry (DIGIT-EXT)" initials="DJ(E" userId="DIMITRIOU Jerry (DIGIT-EXT)" providerId="None"/>
  <p188:author id="{DA2D7CD7-D327-543F-8F61-DAEFF9360C7D}" name="HERMANS Alexander (DIGIT-EXT)" initials="HA(E" userId="HERMANS Alexander (DIGIT-EXT)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84A"/>
    <a:srgbClr val="FBC11D"/>
    <a:srgbClr val="004494"/>
    <a:srgbClr val="842DB5"/>
    <a:srgbClr val="D0DAEA"/>
    <a:srgbClr val="E9EDF5"/>
    <a:srgbClr val="003C8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14AC0F-FDCA-42B5-B5A6-E47C3A80351B}" v="32" dt="2023-04-12T09:41:56.226"/>
    <p1510:client id="{87995E58-58CC-4800-923D-57C5CEBCB92D}" v="237" dt="2023-04-12T11:25:39.291"/>
    <p1510:client id="{BC75E77A-66A3-4E7C-B867-4F49470014C1}" v="1" dt="2023-04-12T12:34:32.142"/>
    <p1510:client id="{CF014272-EB52-40AF-B55C-7C7818C53FD7}" v="339" dt="2023-04-12T10:02:19.2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21" Type="http://schemas.openxmlformats.org/officeDocument/2006/relationships/slide" Target="slides/slide8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viewProps" Target="viewProps.xml"/><Relationship Id="rId37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microsoft.com/office/2015/10/relationships/revisionInfo" Target="revisionInfo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notesMaster" Target="notesMasters/notesMaster1.xml"/><Relationship Id="rId35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ošec Michal" userId="S::michal.janosec_autocont.cz#ext#@eceuropaeu.onmicrosoft.com::f003a980-2871-4d3c-98ba-6af79020b25a" providerId="AD" clId="Web-{BC75E77A-66A3-4E7C-B867-4F49470014C1}"/>
    <pc:docChg chg="delSld">
      <pc:chgData name="Janošec Michal" userId="S::michal.janosec_autocont.cz#ext#@eceuropaeu.onmicrosoft.com::f003a980-2871-4d3c-98ba-6af79020b25a" providerId="AD" clId="Web-{BC75E77A-66A3-4E7C-B867-4F49470014C1}" dt="2023-04-12T12:34:32.142" v="0"/>
      <pc:docMkLst>
        <pc:docMk/>
      </pc:docMkLst>
      <pc:sldChg chg="del">
        <pc:chgData name="Janošec Michal" userId="S::michal.janosec_autocont.cz#ext#@eceuropaeu.onmicrosoft.com::f003a980-2871-4d3c-98ba-6af79020b25a" providerId="AD" clId="Web-{BC75E77A-66A3-4E7C-B867-4F49470014C1}" dt="2023-04-12T12:34:32.142" v="0"/>
        <pc:sldMkLst>
          <pc:docMk/>
          <pc:sldMk cId="2752945779" sldId="6031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5CB86D-4378-43BD-B601-B61A644ECF3C}" type="datetimeFigureOut">
              <a:rPr lang="en-GB" smtClean="0"/>
              <a:t>12/04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14D596-55FE-462E-BA89-1D5807C2E7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22273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55318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61244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63691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6324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3921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96003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40747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60696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32414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61878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16344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61782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77164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045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0882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245451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649938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4946054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00424104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6744140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59522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3618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561926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248122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53431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0488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238455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84861877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459345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62119277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11374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543453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07275265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1896543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779882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991547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3367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6235430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503241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562392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335561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217847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</a:t>
            </a:r>
            <a:r>
              <a:rPr err="1"/>
              <a:t>amet</a:t>
            </a:r>
            <a:r>
              <a:t>, </a:t>
            </a:r>
            <a:r>
              <a:rPr err="1"/>
              <a:t>consectetur</a:t>
            </a:r>
            <a:r>
              <a:t> </a:t>
            </a:r>
            <a:r>
              <a:rPr err="1"/>
              <a:t>adipiscing</a:t>
            </a:r>
            <a:r>
              <a:t> </a:t>
            </a:r>
            <a:r>
              <a:rPr err="1"/>
              <a:t>elit</a:t>
            </a:r>
            <a:r>
              <a:t>, </a:t>
            </a:r>
            <a:r>
              <a:rPr err="1"/>
              <a:t>sed</a:t>
            </a:r>
            <a:r>
              <a:t> do </a:t>
            </a:r>
            <a:r>
              <a:rPr err="1"/>
              <a:t>eiusmod</a:t>
            </a:r>
            <a:r>
              <a:t> </a:t>
            </a:r>
            <a:r>
              <a:rPr err="1"/>
              <a:t>tempor</a:t>
            </a:r>
            <a:r>
              <a:t> </a:t>
            </a:r>
            <a:r>
              <a:rPr err="1"/>
              <a:t>incididunt</a:t>
            </a:r>
            <a:r>
              <a:t> </a:t>
            </a:r>
            <a:r>
              <a:rPr err="1"/>
              <a:t>ut</a:t>
            </a:r>
            <a:r>
              <a:t> </a:t>
            </a:r>
            <a:r>
              <a:rPr err="1"/>
              <a:t>labore</a:t>
            </a:r>
            <a:r>
              <a:t> et </a:t>
            </a:r>
            <a:r>
              <a:rPr err="1"/>
              <a:t>dolore</a:t>
            </a:r>
            <a:r>
              <a:t> magna </a:t>
            </a:r>
            <a:r>
              <a:rPr err="1"/>
              <a:t>aliqua</a:t>
            </a:r>
            <a:r>
              <a:t>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326907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540073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91814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9508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202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948963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9091" y="4337222"/>
            <a:ext cx="10366489" cy="13592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3" hasCustomPrompt="1"/>
          </p:nvPr>
        </p:nvSpPr>
        <p:spPr>
          <a:xfrm>
            <a:off x="89909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4" hasCustomPrompt="1"/>
          </p:nvPr>
        </p:nvSpPr>
        <p:spPr>
          <a:xfrm>
            <a:off x="3595082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45" hasCustomPrompt="1"/>
          </p:nvPr>
        </p:nvSpPr>
        <p:spPr>
          <a:xfrm>
            <a:off x="627202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46" hasCustomPrompt="1"/>
          </p:nvPr>
        </p:nvSpPr>
        <p:spPr>
          <a:xfrm>
            <a:off x="8948963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21334" y="206236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98274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0992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50" hasCustomPrompt="1"/>
          </p:nvPr>
        </p:nvSpPr>
        <p:spPr>
          <a:xfrm>
            <a:off x="9152155" y="207465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21334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94790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73471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54" hasCustomPrompt="1"/>
          </p:nvPr>
        </p:nvSpPr>
        <p:spPr>
          <a:xfrm>
            <a:off x="9152155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55" hasCustomPrompt="1"/>
          </p:nvPr>
        </p:nvSpPr>
        <p:spPr>
          <a:xfrm>
            <a:off x="1121334" y="4582543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21334" y="5040701"/>
            <a:ext cx="9841705" cy="345856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213183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183458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561844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1428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340144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538859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737575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9362903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134353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333069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531784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730500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9292155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134353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33069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531784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730500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9292155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1581763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953038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3568917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555607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7543226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426892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9171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80027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240331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0155138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45390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52589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966080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78296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741860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629057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5176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31490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440634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732421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693780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57132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917905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07870585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865"/>
            <a:ext cx="1716200" cy="45054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736717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39753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70B7A2-124B-154F-B691-E004F68B59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F8DBEA1-9380-9C40-A999-4C3BECB2BB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35126" y="1786270"/>
            <a:ext cx="8314660" cy="183943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37106695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53762" y="1575486"/>
            <a:ext cx="10600038" cy="42754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/>
            </a:lvl1pPr>
            <a:lvl2pPr marL="457200" indent="0">
              <a:lnSpc>
                <a:spcPct val="120000"/>
              </a:lnSpc>
              <a:buNone/>
              <a:defRPr/>
            </a:lvl2pPr>
            <a:lvl3pPr marL="914400" indent="0">
              <a:lnSpc>
                <a:spcPct val="120000"/>
              </a:lnSpc>
              <a:buNone/>
              <a:defRPr/>
            </a:lvl3pPr>
            <a:lvl4pPr marL="1371600" indent="0">
              <a:lnSpc>
                <a:spcPct val="120000"/>
              </a:lnSpc>
              <a:buNone/>
              <a:defRPr/>
            </a:lvl4pPr>
            <a:lvl5pPr marL="1828800" indent="0">
              <a:lnSpc>
                <a:spcPct val="120000"/>
              </a:lnSpc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711929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29598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229052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1803157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43110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749301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913579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638709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9" y="2042788"/>
            <a:ext cx="2085830" cy="1066822"/>
          </a:xfrm>
          <a:blipFill>
            <a:blip r:embed="rId3"/>
            <a:srcRect/>
            <a:stretch>
              <a:fillRect r="-124962"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723144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004120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9254469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1348743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436255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0724199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8664792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0396366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864654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591824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049576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43087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120655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6676036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6794195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3594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65275097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208038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002184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21337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567946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481677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50673794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4751469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62767808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29216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59487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7554586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67815514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48852298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134744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334062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276291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277576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891357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290866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66073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amet, consectetur adipiscing elit, sed do eiusmod tempor incididunt ut labore et dolore magna aliqua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64996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86019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137594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899091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70980" y="466939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9019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35355" y="1552965"/>
            <a:ext cx="10366489" cy="761569"/>
          </a:xfrm>
          <a:prstGeom prst="rect">
            <a:avLst/>
          </a:prstGeom>
          <a:noFill/>
          <a:ln w="571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02283" y="487059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74172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7989" y="488647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02283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70688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80468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90464" y="1691324"/>
            <a:ext cx="9841705" cy="632674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 userDrawn="1"/>
        </p:nvSpPr>
        <p:spPr>
          <a:xfrm>
            <a:off x="8985227" y="466939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58" hasCustomPrompt="1"/>
          </p:nvPr>
        </p:nvSpPr>
        <p:spPr>
          <a:xfrm>
            <a:off x="9194197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7"/>
          <p:cNvSpPr>
            <a:spLocks noGrp="1"/>
          </p:cNvSpPr>
          <p:nvPr>
            <p:ph type="body" sz="quarter" idx="59" hasCustomPrompt="1"/>
          </p:nvPr>
        </p:nvSpPr>
        <p:spPr>
          <a:xfrm>
            <a:off x="9186676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40" name="Rectangle 39"/>
          <p:cNvSpPr/>
          <p:nvPr userDrawn="1"/>
        </p:nvSpPr>
        <p:spPr>
          <a:xfrm>
            <a:off x="906209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3578098" y="260843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6286137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6" name="Text Placeholder 17"/>
          <p:cNvSpPr>
            <a:spLocks noGrp="1"/>
          </p:cNvSpPr>
          <p:nvPr>
            <p:ph type="body" sz="quarter" idx="63" hasCustomPrompt="1"/>
          </p:nvPr>
        </p:nvSpPr>
        <p:spPr>
          <a:xfrm>
            <a:off x="1109401" y="280963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64" hasCustomPrompt="1"/>
          </p:nvPr>
        </p:nvSpPr>
        <p:spPr>
          <a:xfrm>
            <a:off x="3781290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8" name="Text Placeholder 17"/>
          <p:cNvSpPr>
            <a:spLocks noGrp="1"/>
          </p:cNvSpPr>
          <p:nvPr>
            <p:ph type="body" sz="quarter" idx="65" hasCustomPrompt="1"/>
          </p:nvPr>
        </p:nvSpPr>
        <p:spPr>
          <a:xfrm>
            <a:off x="6495107" y="282551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7"/>
          <p:cNvSpPr>
            <a:spLocks noGrp="1"/>
          </p:cNvSpPr>
          <p:nvPr>
            <p:ph type="body" sz="quarter" idx="66" hasCustomPrompt="1"/>
          </p:nvPr>
        </p:nvSpPr>
        <p:spPr>
          <a:xfrm>
            <a:off x="1109401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0" name="Text Placeholder 27"/>
          <p:cNvSpPr>
            <a:spLocks noGrp="1"/>
          </p:cNvSpPr>
          <p:nvPr>
            <p:ph type="body" sz="quarter" idx="67" hasCustomPrompt="1"/>
          </p:nvPr>
        </p:nvSpPr>
        <p:spPr>
          <a:xfrm>
            <a:off x="3777806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1" name="Text Placeholder 27"/>
          <p:cNvSpPr>
            <a:spLocks noGrp="1"/>
          </p:cNvSpPr>
          <p:nvPr>
            <p:ph type="body" sz="quarter" idx="68" hasCustomPrompt="1"/>
          </p:nvPr>
        </p:nvSpPr>
        <p:spPr>
          <a:xfrm>
            <a:off x="6487586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2" name="Rectangle 51"/>
          <p:cNvSpPr/>
          <p:nvPr userDrawn="1"/>
        </p:nvSpPr>
        <p:spPr>
          <a:xfrm>
            <a:off x="8992345" y="260843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4" name="Text Placeholder 17"/>
          <p:cNvSpPr>
            <a:spLocks noGrp="1"/>
          </p:cNvSpPr>
          <p:nvPr>
            <p:ph type="body" sz="quarter" idx="70" hasCustomPrompt="1"/>
          </p:nvPr>
        </p:nvSpPr>
        <p:spPr>
          <a:xfrm>
            <a:off x="9201315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5" name="Text Placeholder 27"/>
          <p:cNvSpPr>
            <a:spLocks noGrp="1"/>
          </p:cNvSpPr>
          <p:nvPr>
            <p:ph type="body" sz="quarter" idx="71" hasCustomPrompt="1"/>
          </p:nvPr>
        </p:nvSpPr>
        <p:spPr>
          <a:xfrm>
            <a:off x="9193794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0363930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540845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158429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446091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2433246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4420401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6407556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8394709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375343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2362498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4349653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6336808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8323961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375343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2362498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4349653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6336808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8323961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613569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8562187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2600723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4587877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6575032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10381864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36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10311116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10311116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8" name="Text Placeholder 12"/>
          <p:cNvSpPr>
            <a:spLocks noGrp="1"/>
          </p:cNvSpPr>
          <p:nvPr>
            <p:ph type="body" sz="quarter" idx="72" hasCustomPrompt="1"/>
          </p:nvPr>
        </p:nvSpPr>
        <p:spPr>
          <a:xfrm>
            <a:off x="10549342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4826183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661562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260395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8875602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43522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542353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97586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1355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934386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000333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656296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419424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513685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450904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308640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819807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127144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921388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5521138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056107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048378ED-01C4-411D-A3F8-333DC5324A48}" type="datetime1">
              <a:rPr lang="en-US" smtClean="0"/>
              <a:t>4/1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2AD3567-3978-4891-9C54-4B2011A71FB4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838201" y="1265167"/>
            <a:ext cx="1292525" cy="1"/>
          </a:xfrm>
          <a:prstGeom prst="line">
            <a:avLst/>
          </a:prstGeom>
          <a:ln w="28575">
            <a:solidFill>
              <a:srgbClr val="F4CF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933273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3146226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rase Grande">
    <p:bg>
      <p:bgPr>
        <a:solidFill>
          <a:srgbClr val="E9EB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Número do diapositivo"/>
          <p:cNvSpPr txBox="1">
            <a:spLocks noGrp="1"/>
          </p:cNvSpPr>
          <p:nvPr>
            <p:ph type="sldNum" sz="quarter" idx="2"/>
          </p:nvPr>
        </p:nvSpPr>
        <p:spPr>
          <a:xfrm>
            <a:off x="11791258" y="6504064"/>
            <a:ext cx="222236" cy="219243"/>
          </a:xfrm>
          <a:prstGeom prst="rect">
            <a:avLst/>
          </a:prstGeom>
        </p:spPr>
        <p:txBody>
          <a:bodyPr lIns="35701" tIns="35701" rIns="35701" bIns="35701" anchor="b"/>
          <a:lstStyle>
            <a:lvl1pPr algn="r" defTabSz="146047">
              <a:defRPr sz="800" b="1">
                <a:solidFill>
                  <a:srgbClr val="FFFFFF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90" name="Frases slides ponte,…"/>
          <p:cNvSpPr txBox="1">
            <a:spLocks noGrp="1"/>
          </p:cNvSpPr>
          <p:nvPr>
            <p:ph type="body" sz="half" idx="13"/>
          </p:nvPr>
        </p:nvSpPr>
        <p:spPr>
          <a:xfrm>
            <a:off x="0" y="2307054"/>
            <a:ext cx="12192000" cy="5155257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 defTabSz="2438339">
              <a:lnSpc>
                <a:spcPts val="17866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sym typeface="Futura LT Book"/>
              </a:defRPr>
            </a:lvl1pPr>
          </a:lstStyle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rases slides ponte, 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undo neutro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rPr>
                <a:solidFill>
                  <a:schemeClr val="accent5">
                    <a:hueOff val="-82419"/>
                    <a:satOff val="-9513"/>
                    <a:lumOff val="-16343"/>
                  </a:schemeClr>
                </a:solidFill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429372986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95DD4-FBA3-BD43-A5C4-5318D91B7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BCA56D-4DB0-6546-8CF3-E826719022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7EC2A8-2E88-0E4D-8860-73186CB01C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FD3471-51AB-6241-8477-85403BB7E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3A7C2-FC1D-4CAA-8724-50C9007A397E}" type="datetime1">
              <a:rPr lang="en-US" smtClean="0"/>
              <a:t>4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F457A6-DB40-9743-96E9-5F4C07BF94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75DDDF-E3F8-EF40-A82B-14D2A8AAF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AB4622-4A36-9A4C-B598-C6DF12CB0A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07371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091351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816331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38200" y="1575486"/>
            <a:ext cx="10515600" cy="4275437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87350796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53762" y="1575486"/>
            <a:ext cx="10600038" cy="42754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/>
            </a:lvl1pPr>
            <a:lvl2pPr marL="457200" indent="0">
              <a:lnSpc>
                <a:spcPct val="120000"/>
              </a:lnSpc>
              <a:buNone/>
              <a:defRPr/>
            </a:lvl2pPr>
            <a:lvl3pPr marL="914400" indent="0">
              <a:lnSpc>
                <a:spcPct val="120000"/>
              </a:lnSpc>
              <a:buNone/>
              <a:defRPr/>
            </a:lvl3pPr>
            <a:lvl4pPr marL="1371600" indent="0">
              <a:lnSpc>
                <a:spcPct val="120000"/>
              </a:lnSpc>
              <a:buNone/>
              <a:defRPr/>
            </a:lvl4pPr>
            <a:lvl5pPr marL="1828800" indent="0">
              <a:lnSpc>
                <a:spcPct val="120000"/>
              </a:lnSpc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03554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7256700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-dar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04933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164184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063583" y="2961087"/>
            <a:ext cx="4692321" cy="60219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63583" y="3712535"/>
            <a:ext cx="4670541" cy="2354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85800" y="-16852"/>
            <a:ext cx="0" cy="3964836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109970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205015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891613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5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4990307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 cstate="screen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338579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46309140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3"/>
            <a:ext cx="3450220" cy="782281"/>
          </a:xfrm>
        </p:spPr>
        <p:txBody>
          <a:bodyPr>
            <a:noAutofit/>
          </a:bodyPr>
          <a:lstStyle>
            <a:lvl1pPr>
              <a:defRPr sz="270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8994" y="3180785"/>
            <a:ext cx="3449426" cy="11655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2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8110018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681684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811211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3966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826800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973169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80572350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2344846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404350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8229355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858112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809781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98772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47086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7685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919133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1333345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67347526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628049131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13966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135189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693715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7094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36460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6286868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7173923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4206471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82586675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85992622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531240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3760001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50796090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33229871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15801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138232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4231818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13786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1662069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173007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1378641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01124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</a:t>
            </a:r>
            <a:r>
              <a:rPr err="1"/>
              <a:t>amet</a:t>
            </a:r>
            <a:r>
              <a:t>, </a:t>
            </a:r>
            <a:r>
              <a:rPr err="1"/>
              <a:t>consectetur</a:t>
            </a:r>
            <a:r>
              <a:t> </a:t>
            </a:r>
            <a:r>
              <a:rPr err="1"/>
              <a:t>adipiscing</a:t>
            </a:r>
            <a:r>
              <a:t> </a:t>
            </a:r>
            <a:r>
              <a:rPr err="1"/>
              <a:t>elit</a:t>
            </a:r>
            <a:r>
              <a:t>, </a:t>
            </a:r>
            <a:r>
              <a:rPr err="1"/>
              <a:t>sed</a:t>
            </a:r>
            <a:r>
              <a:t> do </a:t>
            </a:r>
            <a:r>
              <a:rPr err="1"/>
              <a:t>eiusmod</a:t>
            </a:r>
            <a:r>
              <a:t> </a:t>
            </a:r>
            <a:r>
              <a:rPr err="1"/>
              <a:t>tempor</a:t>
            </a:r>
            <a:r>
              <a:t> </a:t>
            </a:r>
            <a:r>
              <a:rPr err="1"/>
              <a:t>incididunt</a:t>
            </a:r>
            <a:r>
              <a:t> </a:t>
            </a:r>
            <a:r>
              <a:rPr err="1"/>
              <a:t>ut</a:t>
            </a:r>
            <a:r>
              <a:t> </a:t>
            </a:r>
            <a:r>
              <a:rPr err="1"/>
              <a:t>labore</a:t>
            </a:r>
            <a:r>
              <a:t> et </a:t>
            </a:r>
            <a:r>
              <a:rPr err="1"/>
              <a:t>dolore</a:t>
            </a:r>
            <a:r>
              <a:t> magna </a:t>
            </a:r>
            <a:r>
              <a:rPr err="1"/>
              <a:t>aliqua</a:t>
            </a:r>
            <a:r>
              <a:t>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499572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50048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91814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9508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202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948963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9091" y="4337222"/>
            <a:ext cx="10366489" cy="13592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3" hasCustomPrompt="1"/>
          </p:nvPr>
        </p:nvSpPr>
        <p:spPr>
          <a:xfrm>
            <a:off x="89909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4" hasCustomPrompt="1"/>
          </p:nvPr>
        </p:nvSpPr>
        <p:spPr>
          <a:xfrm>
            <a:off x="3595082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45" hasCustomPrompt="1"/>
          </p:nvPr>
        </p:nvSpPr>
        <p:spPr>
          <a:xfrm>
            <a:off x="627202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46" hasCustomPrompt="1"/>
          </p:nvPr>
        </p:nvSpPr>
        <p:spPr>
          <a:xfrm>
            <a:off x="8948963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21334" y="206236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98274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0992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50" hasCustomPrompt="1"/>
          </p:nvPr>
        </p:nvSpPr>
        <p:spPr>
          <a:xfrm>
            <a:off x="9152155" y="207465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21334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94790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73471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54" hasCustomPrompt="1"/>
          </p:nvPr>
        </p:nvSpPr>
        <p:spPr>
          <a:xfrm>
            <a:off x="9152155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55" hasCustomPrompt="1"/>
          </p:nvPr>
        </p:nvSpPr>
        <p:spPr>
          <a:xfrm>
            <a:off x="1121334" y="4582543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21334" y="5040701"/>
            <a:ext cx="9841705" cy="345856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92989948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379859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561844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1428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340144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538859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737575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9362903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134353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333069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531784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730500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9292155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134353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33069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531784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730500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9292155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1581763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953038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3568917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555607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7543226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946111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23083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30881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00077072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1640940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81166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402951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087601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2181169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787035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654390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10363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514945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54481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263554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108416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146718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03477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27615305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1965750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38200" y="1575486"/>
            <a:ext cx="10515600" cy="4275437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80328265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865"/>
            <a:ext cx="1716200" cy="45054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3481628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417076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182066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-dar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71508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0202215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504843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79776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561214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586528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82936085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56676201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4707378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371515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6469665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724916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38479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78659656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7559924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025245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8429318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5527464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94518456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716677688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986675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966802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1452652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53534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979563283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65299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596043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66172011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626847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47869486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045236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94334806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72056032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49583507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68899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1510832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2333536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0470132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14468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3987846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837335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00421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amet, consectetur adipiscing elit, sed do eiusmod tempor incididunt ut labore et dolore magna aliqua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0634656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0700287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91814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9508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202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948963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9091" y="4337222"/>
            <a:ext cx="10366489" cy="13592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3" hasCustomPrompt="1"/>
          </p:nvPr>
        </p:nvSpPr>
        <p:spPr>
          <a:xfrm>
            <a:off x="89909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4" hasCustomPrompt="1"/>
          </p:nvPr>
        </p:nvSpPr>
        <p:spPr>
          <a:xfrm>
            <a:off x="3595082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45" hasCustomPrompt="1"/>
          </p:nvPr>
        </p:nvSpPr>
        <p:spPr>
          <a:xfrm>
            <a:off x="627202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46" hasCustomPrompt="1"/>
          </p:nvPr>
        </p:nvSpPr>
        <p:spPr>
          <a:xfrm>
            <a:off x="8948963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21334" y="206236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98274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0992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50" hasCustomPrompt="1"/>
          </p:nvPr>
        </p:nvSpPr>
        <p:spPr>
          <a:xfrm>
            <a:off x="9152155" y="207465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21334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94790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73471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54" hasCustomPrompt="1"/>
          </p:nvPr>
        </p:nvSpPr>
        <p:spPr>
          <a:xfrm>
            <a:off x="9152155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55" hasCustomPrompt="1"/>
          </p:nvPr>
        </p:nvSpPr>
        <p:spPr>
          <a:xfrm>
            <a:off x="1121334" y="4582543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21334" y="5040701"/>
            <a:ext cx="9841705" cy="345856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62162614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2090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886910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561844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1428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340144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538859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737575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9362903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134353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333069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531784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730500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9292155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134353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33069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531784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730500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9292155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1581763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953038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3568917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555607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7543226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013001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4138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3558600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08251548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396431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9551343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319373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8495187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9980822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93986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1199904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1565269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8649002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735027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6919814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163750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856617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03139459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48421823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53762" y="1575486"/>
            <a:ext cx="10600038" cy="42754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/>
            </a:lvl1pPr>
            <a:lvl2pPr marL="457200" indent="0">
              <a:lnSpc>
                <a:spcPct val="120000"/>
              </a:lnSpc>
              <a:buNone/>
              <a:defRPr/>
            </a:lvl2pPr>
            <a:lvl3pPr marL="914400" indent="0">
              <a:lnSpc>
                <a:spcPct val="120000"/>
              </a:lnSpc>
              <a:buNone/>
              <a:defRPr/>
            </a:lvl3pPr>
            <a:lvl4pPr marL="1371600" indent="0">
              <a:lnSpc>
                <a:spcPct val="120000"/>
              </a:lnSpc>
              <a:buNone/>
              <a:defRPr/>
            </a:lvl4pPr>
            <a:lvl5pPr marL="1828800" indent="0">
              <a:lnSpc>
                <a:spcPct val="120000"/>
              </a:lnSpc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4225919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1550CF-01D3-48F6-B477-DF9BF0916B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0897E4-173B-4C3B-8776-B0A0D00140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604030-EDDA-4C67-976A-EB4DEE43E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8A01-7A15-4D14-A8FA-2D418DF64D8C}" type="datetimeFigureOut">
              <a:rPr lang="en-US" smtClean="0"/>
              <a:t>4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5BF9EF-ADBE-472D-8798-2ADE21AB8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A2BB54-0DC7-4E75-8803-7D401D21B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2966C-520B-457A-B1CD-A87A4E65AB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7837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1423898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4875AD7-C6B5-BB44-A721-A67C940C79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178927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6995953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38784628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 b="0" i="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033856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52316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288338" y="717047"/>
            <a:ext cx="3903662" cy="6140953"/>
          </a:xfrm>
          <a:prstGeom prst="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92604" cy="60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7939087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9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4397486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1"/>
          </p:nvPr>
        </p:nvSpPr>
        <p:spPr>
          <a:xfrm>
            <a:off x="6587544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19825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44291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658754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3823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4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/>
          <p:cNvSpPr>
            <a:spLocks noGrp="1"/>
          </p:cNvSpPr>
          <p:nvPr>
            <p:ph type="pic" sz="quarter" idx="15"/>
          </p:nvPr>
        </p:nvSpPr>
        <p:spPr>
          <a:xfrm>
            <a:off x="6708395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0" name="Espace réservé pour une image  8"/>
          <p:cNvSpPr>
            <a:spLocks noGrp="1"/>
          </p:cNvSpPr>
          <p:nvPr>
            <p:ph type="pic" sz="quarter" idx="16"/>
          </p:nvPr>
        </p:nvSpPr>
        <p:spPr>
          <a:xfrm>
            <a:off x="9895547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1" name="Espace réservé pour une image  8"/>
          <p:cNvSpPr>
            <a:spLocks noGrp="1"/>
          </p:cNvSpPr>
          <p:nvPr>
            <p:ph type="pic" sz="quarter" idx="17"/>
          </p:nvPr>
        </p:nvSpPr>
        <p:spPr>
          <a:xfrm>
            <a:off x="334089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8"/>
          </p:nvPr>
        </p:nvSpPr>
        <p:spPr>
          <a:xfrm>
            <a:off x="3521242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0" hasCustomPrompt="1"/>
          </p:nvPr>
        </p:nvSpPr>
        <p:spPr>
          <a:xfrm>
            <a:off x="334089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5" name="Espace réservé du texte 6"/>
          <p:cNvSpPr>
            <a:spLocks noGrp="1"/>
          </p:cNvSpPr>
          <p:nvPr>
            <p:ph type="body" sz="quarter" idx="21" hasCustomPrompt="1"/>
          </p:nvPr>
        </p:nvSpPr>
        <p:spPr>
          <a:xfrm>
            <a:off x="3521242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2" hasCustomPrompt="1"/>
          </p:nvPr>
        </p:nvSpPr>
        <p:spPr>
          <a:xfrm>
            <a:off x="6708395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895547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86489" y="4188907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493837" y="4188906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0274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36617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3"/>
          </p:nvPr>
        </p:nvSpPr>
        <p:spPr>
          <a:xfrm>
            <a:off x="4362383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4"/>
          </p:nvPr>
        </p:nvSpPr>
        <p:spPr>
          <a:xfrm>
            <a:off x="8388148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82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i="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numéro de diapositive 2"/>
          <p:cNvSpPr txBox="1">
            <a:spLocks/>
          </p:cNvSpPr>
          <p:nvPr userDrawn="1"/>
        </p:nvSpPr>
        <p:spPr>
          <a:xfrm>
            <a:off x="11415251" y="6262183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600" b="0" i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600" b="0" i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600" b="0" i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336617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 b="0" i="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 b="0" i="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362383" y="4141684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 b="0" i="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 b="0" i="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8388148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 b="0" i="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 b="0" i="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3607826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8215657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303400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Faits marquants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875393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Evénements à venir</a:t>
            </a: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4863818" y="3919361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Points d</a:t>
            </a:r>
            <a:r>
              <a:rPr lang="fr-FR" sz="2000">
                <a:latin typeface="Calibri" panose="020F0502020204030204" pitchFamily="34" charset="0"/>
                <a:cs typeface="Calibri" panose="020F0502020204030204" pitchFamily="34" charset="0"/>
              </a:rPr>
              <a:t>’</a:t>
            </a:r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attention</a:t>
            </a:r>
          </a:p>
        </p:txBody>
      </p:sp>
      <p:sp>
        <p:nvSpPr>
          <p:cNvPr id="15" name="ZoneTexte 14"/>
          <p:cNvSpPr txBox="1"/>
          <p:nvPr userDrawn="1"/>
        </p:nvSpPr>
        <p:spPr>
          <a:xfrm>
            <a:off x="9447386" y="1517615"/>
            <a:ext cx="25092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Météo du projet</a:t>
            </a:r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539987" y="1990844"/>
            <a:ext cx="2254616" cy="4128955"/>
          </a:xfrm>
          <a:prstGeom prst="roundRect">
            <a:avLst>
              <a:gd name="adj" fmla="val 4349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>
                <a:solidFill>
                  <a:srgbClr val="575756"/>
                </a:solidFill>
              </a:defRPr>
            </a:lvl3pPr>
            <a:lvl4pPr marL="1074737" indent="0">
              <a:buFontTx/>
              <a:buNone/>
              <a:defRPr sz="16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3"/>
            <a:r>
              <a:rPr lang="fr-FR"/>
              <a:t> </a:t>
            </a:r>
          </a:p>
        </p:txBody>
      </p:sp>
      <p:sp>
        <p:nvSpPr>
          <p:cNvPr id="22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745166" y="94369"/>
            <a:ext cx="1926692" cy="531209"/>
          </a:xfrm>
          <a:prstGeom prst="round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24" hasCustomPrompt="1"/>
          </p:nvPr>
        </p:nvSpPr>
        <p:spPr>
          <a:xfrm>
            <a:off x="303213" y="973138"/>
            <a:ext cx="3055937" cy="3984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E9A9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Période XX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407988" y="1990844"/>
            <a:ext cx="4071415" cy="412895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4968692" y="2006824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texte 6"/>
          <p:cNvSpPr>
            <a:spLocks noGrp="1"/>
          </p:cNvSpPr>
          <p:nvPr>
            <p:ph type="body" sz="quarter" idx="22"/>
          </p:nvPr>
        </p:nvSpPr>
        <p:spPr>
          <a:xfrm>
            <a:off x="4968692" y="4398385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5685663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1550CF-01D3-48F6-B477-DF9BF0916B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0897E4-173B-4C3B-8776-B0A0D00140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604030-EDDA-4C67-976A-EB4DEE43E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9218A01-7A15-4D14-A8FA-2D418DF64D8C}" type="datetimeFigureOut">
              <a:rPr lang="en-US" smtClean="0"/>
              <a:pPr/>
              <a:t>4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5BF9EF-ADBE-472D-8798-2ADE21AB8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A2BB54-0DC7-4E75-8803-7D401D21B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C0F2966C-520B-457A-B1CD-A87A4E65AB2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6049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729558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5311531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76265" y="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76226251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5707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288338" y="717047"/>
            <a:ext cx="3903662" cy="6140953"/>
          </a:xfrm>
          <a:prstGeom prst="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92604" cy="60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7939087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9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77121320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1"/>
          </p:nvPr>
        </p:nvSpPr>
        <p:spPr>
          <a:xfrm>
            <a:off x="6587544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19825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44291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658754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75807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4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/>
          <p:cNvSpPr>
            <a:spLocks noGrp="1"/>
          </p:cNvSpPr>
          <p:nvPr>
            <p:ph type="pic" sz="quarter" idx="15"/>
          </p:nvPr>
        </p:nvSpPr>
        <p:spPr>
          <a:xfrm>
            <a:off x="6708395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0" name="Espace réservé pour une image  8"/>
          <p:cNvSpPr>
            <a:spLocks noGrp="1"/>
          </p:cNvSpPr>
          <p:nvPr>
            <p:ph type="pic" sz="quarter" idx="16"/>
          </p:nvPr>
        </p:nvSpPr>
        <p:spPr>
          <a:xfrm>
            <a:off x="9895547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1" name="Espace réservé pour une image  8"/>
          <p:cNvSpPr>
            <a:spLocks noGrp="1"/>
          </p:cNvSpPr>
          <p:nvPr>
            <p:ph type="pic" sz="quarter" idx="17"/>
          </p:nvPr>
        </p:nvSpPr>
        <p:spPr>
          <a:xfrm>
            <a:off x="334089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8"/>
          </p:nvPr>
        </p:nvSpPr>
        <p:spPr>
          <a:xfrm>
            <a:off x="3521242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0" hasCustomPrompt="1"/>
          </p:nvPr>
        </p:nvSpPr>
        <p:spPr>
          <a:xfrm>
            <a:off x="334089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5" name="Espace réservé du texte 6"/>
          <p:cNvSpPr>
            <a:spLocks noGrp="1"/>
          </p:cNvSpPr>
          <p:nvPr>
            <p:ph type="body" sz="quarter" idx="21" hasCustomPrompt="1"/>
          </p:nvPr>
        </p:nvSpPr>
        <p:spPr>
          <a:xfrm>
            <a:off x="3521242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2" hasCustomPrompt="1"/>
          </p:nvPr>
        </p:nvSpPr>
        <p:spPr>
          <a:xfrm>
            <a:off x="6708395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895547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86489" y="4188907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493837" y="4188906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28402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36617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3"/>
          </p:nvPr>
        </p:nvSpPr>
        <p:spPr>
          <a:xfrm>
            <a:off x="4362383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4"/>
          </p:nvPr>
        </p:nvSpPr>
        <p:spPr>
          <a:xfrm>
            <a:off x="8388148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82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numéro de diapositive 2"/>
          <p:cNvSpPr txBox="1">
            <a:spLocks/>
          </p:cNvSpPr>
          <p:nvPr userDrawn="1"/>
        </p:nvSpPr>
        <p:spPr>
          <a:xfrm>
            <a:off x="11415251" y="6262183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6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6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600" b="1">
              <a:solidFill>
                <a:prstClr val="white"/>
              </a:solidFill>
              <a:latin typeface="+mn-lt"/>
            </a:endParaRP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336617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362383" y="4141684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8388148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36426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8215657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303400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Faits marquants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875393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Evénements à venir</a:t>
            </a: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4863818" y="3919361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Points d</a:t>
            </a:r>
            <a:r>
              <a:rPr lang="fr-FR" sz="2000">
                <a:latin typeface="+mn-lt"/>
              </a:rPr>
              <a:t>’</a:t>
            </a:r>
            <a:r>
              <a:rPr lang="fr-FR" sz="2000" b="1">
                <a:latin typeface="+mn-lt"/>
              </a:rPr>
              <a:t>attention</a:t>
            </a:r>
          </a:p>
        </p:txBody>
      </p:sp>
      <p:sp>
        <p:nvSpPr>
          <p:cNvPr id="15" name="ZoneTexte 14"/>
          <p:cNvSpPr txBox="1"/>
          <p:nvPr userDrawn="1"/>
        </p:nvSpPr>
        <p:spPr>
          <a:xfrm>
            <a:off x="9447386" y="1517615"/>
            <a:ext cx="25092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Météo du projet</a:t>
            </a:r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539987" y="1990844"/>
            <a:ext cx="2254616" cy="4128955"/>
          </a:xfrm>
          <a:prstGeom prst="roundRect">
            <a:avLst>
              <a:gd name="adj" fmla="val 4349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>
                <a:solidFill>
                  <a:srgbClr val="575756"/>
                </a:solidFill>
              </a:defRPr>
            </a:lvl3pPr>
            <a:lvl4pPr marL="1074737" indent="0">
              <a:buFontTx/>
              <a:buNone/>
              <a:defRPr sz="1600">
                <a:solidFill>
                  <a:srgbClr val="70706F"/>
                </a:solidFill>
                <a:latin typeface="+mn-lt"/>
              </a:defRPr>
            </a:lvl4pPr>
          </a:lstStyle>
          <a:p>
            <a:pPr lvl="3"/>
            <a:r>
              <a:rPr lang="fr-FR"/>
              <a:t> </a:t>
            </a:r>
          </a:p>
        </p:txBody>
      </p:sp>
      <p:sp>
        <p:nvSpPr>
          <p:cNvPr id="22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745166" y="94369"/>
            <a:ext cx="1926692" cy="531209"/>
          </a:xfrm>
          <a:prstGeom prst="round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24" hasCustomPrompt="1"/>
          </p:nvPr>
        </p:nvSpPr>
        <p:spPr>
          <a:xfrm>
            <a:off x="303213" y="973138"/>
            <a:ext cx="3055937" cy="3984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E9A92"/>
                </a:solidFill>
                <a:latin typeface="+mn-lt"/>
              </a:defRPr>
            </a:lvl1pPr>
          </a:lstStyle>
          <a:p>
            <a:pPr lvl="0"/>
            <a:r>
              <a:rPr lang="fr-FR"/>
              <a:t>Période XX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407988" y="1990844"/>
            <a:ext cx="4071415" cy="412895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4968692" y="2006824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texte 6"/>
          <p:cNvSpPr>
            <a:spLocks noGrp="1"/>
          </p:cNvSpPr>
          <p:nvPr>
            <p:ph type="body" sz="quarter" idx="22"/>
          </p:nvPr>
        </p:nvSpPr>
        <p:spPr>
          <a:xfrm>
            <a:off x="4968692" y="4398385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76899166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83724800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76265" y="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20583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5723089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4646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288338" y="717047"/>
            <a:ext cx="3903662" cy="6140953"/>
          </a:xfrm>
          <a:prstGeom prst="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92604" cy="60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7939087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9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84108700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1"/>
          </p:nvPr>
        </p:nvSpPr>
        <p:spPr>
          <a:xfrm>
            <a:off x="6587544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19825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44291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658754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3910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4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/>
          <p:cNvSpPr>
            <a:spLocks noGrp="1"/>
          </p:cNvSpPr>
          <p:nvPr>
            <p:ph type="pic" sz="quarter" idx="15"/>
          </p:nvPr>
        </p:nvSpPr>
        <p:spPr>
          <a:xfrm>
            <a:off x="6708395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0" name="Espace réservé pour une image  8"/>
          <p:cNvSpPr>
            <a:spLocks noGrp="1"/>
          </p:cNvSpPr>
          <p:nvPr>
            <p:ph type="pic" sz="quarter" idx="16"/>
          </p:nvPr>
        </p:nvSpPr>
        <p:spPr>
          <a:xfrm>
            <a:off x="9895547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1" name="Espace réservé pour une image  8"/>
          <p:cNvSpPr>
            <a:spLocks noGrp="1"/>
          </p:cNvSpPr>
          <p:nvPr>
            <p:ph type="pic" sz="quarter" idx="17"/>
          </p:nvPr>
        </p:nvSpPr>
        <p:spPr>
          <a:xfrm>
            <a:off x="334089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8"/>
          </p:nvPr>
        </p:nvSpPr>
        <p:spPr>
          <a:xfrm>
            <a:off x="3521242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0" hasCustomPrompt="1"/>
          </p:nvPr>
        </p:nvSpPr>
        <p:spPr>
          <a:xfrm>
            <a:off x="334089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5" name="Espace réservé du texte 6"/>
          <p:cNvSpPr>
            <a:spLocks noGrp="1"/>
          </p:cNvSpPr>
          <p:nvPr>
            <p:ph type="body" sz="quarter" idx="21" hasCustomPrompt="1"/>
          </p:nvPr>
        </p:nvSpPr>
        <p:spPr>
          <a:xfrm>
            <a:off x="3521242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2" hasCustomPrompt="1"/>
          </p:nvPr>
        </p:nvSpPr>
        <p:spPr>
          <a:xfrm>
            <a:off x="6708395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895547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86489" y="4188907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493837" y="4188906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6822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36617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3"/>
          </p:nvPr>
        </p:nvSpPr>
        <p:spPr>
          <a:xfrm>
            <a:off x="4362383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4"/>
          </p:nvPr>
        </p:nvSpPr>
        <p:spPr>
          <a:xfrm>
            <a:off x="8388148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82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numéro de diapositive 2"/>
          <p:cNvSpPr txBox="1">
            <a:spLocks/>
          </p:cNvSpPr>
          <p:nvPr userDrawn="1"/>
        </p:nvSpPr>
        <p:spPr>
          <a:xfrm>
            <a:off x="11415251" y="6262183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6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6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600" b="1">
              <a:solidFill>
                <a:prstClr val="white"/>
              </a:solidFill>
              <a:latin typeface="+mn-lt"/>
            </a:endParaRP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336617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362383" y="4141684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8388148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2092293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8215657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303400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Faits marquants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875393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Evénements à venir</a:t>
            </a: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4863818" y="3919361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Points d</a:t>
            </a:r>
            <a:r>
              <a:rPr lang="fr-FR" sz="2000">
                <a:latin typeface="+mn-lt"/>
              </a:rPr>
              <a:t>’</a:t>
            </a:r>
            <a:r>
              <a:rPr lang="fr-FR" sz="2000" b="1">
                <a:latin typeface="+mn-lt"/>
              </a:rPr>
              <a:t>attention</a:t>
            </a:r>
          </a:p>
        </p:txBody>
      </p:sp>
      <p:sp>
        <p:nvSpPr>
          <p:cNvPr id="15" name="ZoneTexte 14"/>
          <p:cNvSpPr txBox="1"/>
          <p:nvPr userDrawn="1"/>
        </p:nvSpPr>
        <p:spPr>
          <a:xfrm>
            <a:off x="9447386" y="1517615"/>
            <a:ext cx="25092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Météo du projet</a:t>
            </a:r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539987" y="1990844"/>
            <a:ext cx="2254616" cy="4128955"/>
          </a:xfrm>
          <a:prstGeom prst="roundRect">
            <a:avLst>
              <a:gd name="adj" fmla="val 4349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>
                <a:solidFill>
                  <a:srgbClr val="575756"/>
                </a:solidFill>
              </a:defRPr>
            </a:lvl3pPr>
            <a:lvl4pPr marL="1074737" indent="0">
              <a:buFontTx/>
              <a:buNone/>
              <a:defRPr sz="1600">
                <a:solidFill>
                  <a:srgbClr val="70706F"/>
                </a:solidFill>
                <a:latin typeface="+mn-lt"/>
              </a:defRPr>
            </a:lvl4pPr>
          </a:lstStyle>
          <a:p>
            <a:pPr lvl="3"/>
            <a:r>
              <a:rPr lang="fr-FR"/>
              <a:t> </a:t>
            </a:r>
          </a:p>
        </p:txBody>
      </p:sp>
      <p:sp>
        <p:nvSpPr>
          <p:cNvPr id="22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745166" y="94369"/>
            <a:ext cx="1926692" cy="531209"/>
          </a:xfrm>
          <a:prstGeom prst="round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24" hasCustomPrompt="1"/>
          </p:nvPr>
        </p:nvSpPr>
        <p:spPr>
          <a:xfrm>
            <a:off x="303213" y="973138"/>
            <a:ext cx="3055937" cy="3984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E9A92"/>
                </a:solidFill>
                <a:latin typeface="+mn-lt"/>
              </a:defRPr>
            </a:lvl1pPr>
          </a:lstStyle>
          <a:p>
            <a:pPr lvl="0"/>
            <a:r>
              <a:rPr lang="fr-FR"/>
              <a:t>Période XX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407988" y="1990844"/>
            <a:ext cx="4071415" cy="412895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4968692" y="2006824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texte 6"/>
          <p:cNvSpPr>
            <a:spLocks noGrp="1"/>
          </p:cNvSpPr>
          <p:nvPr>
            <p:ph type="body" sz="quarter" idx="22"/>
          </p:nvPr>
        </p:nvSpPr>
        <p:spPr>
          <a:xfrm>
            <a:off x="4968692" y="4398385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825252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42332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amet, consectetur adipiscing elit, sed do eiusmod tempor incididunt ut labore et dolore magna aliqua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66554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42574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22051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899091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70980" y="466939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9019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35355" y="1552965"/>
            <a:ext cx="10366489" cy="761569"/>
          </a:xfrm>
          <a:prstGeom prst="rect">
            <a:avLst/>
          </a:prstGeom>
          <a:noFill/>
          <a:ln w="571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02283" y="487059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74172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7989" y="488647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02283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70688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80468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90464" y="1691324"/>
            <a:ext cx="9841705" cy="632674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 userDrawn="1"/>
        </p:nvSpPr>
        <p:spPr>
          <a:xfrm>
            <a:off x="8985227" y="466939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58" hasCustomPrompt="1"/>
          </p:nvPr>
        </p:nvSpPr>
        <p:spPr>
          <a:xfrm>
            <a:off x="9194197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7"/>
          <p:cNvSpPr>
            <a:spLocks noGrp="1"/>
          </p:cNvSpPr>
          <p:nvPr>
            <p:ph type="body" sz="quarter" idx="59" hasCustomPrompt="1"/>
          </p:nvPr>
        </p:nvSpPr>
        <p:spPr>
          <a:xfrm>
            <a:off x="9186676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40" name="Rectangle 39"/>
          <p:cNvSpPr/>
          <p:nvPr userDrawn="1"/>
        </p:nvSpPr>
        <p:spPr>
          <a:xfrm>
            <a:off x="906209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3578098" y="260843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6286137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6" name="Text Placeholder 17"/>
          <p:cNvSpPr>
            <a:spLocks noGrp="1"/>
          </p:cNvSpPr>
          <p:nvPr>
            <p:ph type="body" sz="quarter" idx="63" hasCustomPrompt="1"/>
          </p:nvPr>
        </p:nvSpPr>
        <p:spPr>
          <a:xfrm>
            <a:off x="1109401" y="280963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64" hasCustomPrompt="1"/>
          </p:nvPr>
        </p:nvSpPr>
        <p:spPr>
          <a:xfrm>
            <a:off x="3781290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8" name="Text Placeholder 17"/>
          <p:cNvSpPr>
            <a:spLocks noGrp="1"/>
          </p:cNvSpPr>
          <p:nvPr>
            <p:ph type="body" sz="quarter" idx="65" hasCustomPrompt="1"/>
          </p:nvPr>
        </p:nvSpPr>
        <p:spPr>
          <a:xfrm>
            <a:off x="6495107" y="282551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7"/>
          <p:cNvSpPr>
            <a:spLocks noGrp="1"/>
          </p:cNvSpPr>
          <p:nvPr>
            <p:ph type="body" sz="quarter" idx="66" hasCustomPrompt="1"/>
          </p:nvPr>
        </p:nvSpPr>
        <p:spPr>
          <a:xfrm>
            <a:off x="1109401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0" name="Text Placeholder 27"/>
          <p:cNvSpPr>
            <a:spLocks noGrp="1"/>
          </p:cNvSpPr>
          <p:nvPr>
            <p:ph type="body" sz="quarter" idx="67" hasCustomPrompt="1"/>
          </p:nvPr>
        </p:nvSpPr>
        <p:spPr>
          <a:xfrm>
            <a:off x="3777806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1" name="Text Placeholder 27"/>
          <p:cNvSpPr>
            <a:spLocks noGrp="1"/>
          </p:cNvSpPr>
          <p:nvPr>
            <p:ph type="body" sz="quarter" idx="68" hasCustomPrompt="1"/>
          </p:nvPr>
        </p:nvSpPr>
        <p:spPr>
          <a:xfrm>
            <a:off x="6487586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2" name="Rectangle 51"/>
          <p:cNvSpPr/>
          <p:nvPr userDrawn="1"/>
        </p:nvSpPr>
        <p:spPr>
          <a:xfrm>
            <a:off x="8992345" y="260843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4" name="Text Placeholder 17"/>
          <p:cNvSpPr>
            <a:spLocks noGrp="1"/>
          </p:cNvSpPr>
          <p:nvPr>
            <p:ph type="body" sz="quarter" idx="70" hasCustomPrompt="1"/>
          </p:nvPr>
        </p:nvSpPr>
        <p:spPr>
          <a:xfrm>
            <a:off x="9201315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5" name="Text Placeholder 27"/>
          <p:cNvSpPr>
            <a:spLocks noGrp="1"/>
          </p:cNvSpPr>
          <p:nvPr>
            <p:ph type="body" sz="quarter" idx="71" hasCustomPrompt="1"/>
          </p:nvPr>
        </p:nvSpPr>
        <p:spPr>
          <a:xfrm>
            <a:off x="9193794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632418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24957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158429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446091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2433246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4420401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6407556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8394709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375343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2362498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4349653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6336808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8323961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375343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2362498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4349653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6336808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8323961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613569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8562187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2600723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4587877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6575032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10381864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36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10311116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10311116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8" name="Text Placeholder 12"/>
          <p:cNvSpPr>
            <a:spLocks noGrp="1"/>
          </p:cNvSpPr>
          <p:nvPr>
            <p:ph type="body" sz="quarter" idx="72" hasCustomPrompt="1"/>
          </p:nvPr>
        </p:nvSpPr>
        <p:spPr>
          <a:xfrm>
            <a:off x="10549342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610097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15363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25101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463841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761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22629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54468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9" y="2042788"/>
            <a:ext cx="2085830" cy="1066822"/>
          </a:xfrm>
          <a:blipFill>
            <a:blip r:embed="rId3"/>
            <a:srcRect/>
            <a:stretch>
              <a:fillRect r="-124962"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57612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51622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144963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07819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1325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5286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44874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39316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35414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21615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9725850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19253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024241EE-894A-4944-8BD5-9FD380958B89}" type="datetime1">
              <a:rPr lang="en-US" smtClean="0"/>
              <a:t>4/1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2AD3567-3978-4891-9C54-4B2011A71FB4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838201" y="1265167"/>
            <a:ext cx="1292525" cy="1"/>
          </a:xfrm>
          <a:prstGeom prst="line">
            <a:avLst/>
          </a:prstGeom>
          <a:ln w="28575">
            <a:solidFill>
              <a:srgbClr val="F4CF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774188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827120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rase Grande">
    <p:bg>
      <p:bgPr>
        <a:solidFill>
          <a:srgbClr val="E9EB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Número do diapositivo"/>
          <p:cNvSpPr txBox="1">
            <a:spLocks noGrp="1"/>
          </p:cNvSpPr>
          <p:nvPr>
            <p:ph type="sldNum" sz="quarter" idx="2"/>
          </p:nvPr>
        </p:nvSpPr>
        <p:spPr>
          <a:xfrm>
            <a:off x="11791258" y="6504064"/>
            <a:ext cx="222236" cy="219243"/>
          </a:xfrm>
          <a:prstGeom prst="rect">
            <a:avLst/>
          </a:prstGeom>
        </p:spPr>
        <p:txBody>
          <a:bodyPr lIns="35701" tIns="35701" rIns="35701" bIns="35701" anchor="b"/>
          <a:lstStyle>
            <a:lvl1pPr algn="r" defTabSz="146047">
              <a:defRPr sz="800" b="1">
                <a:solidFill>
                  <a:srgbClr val="FFFFFF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90" name="Frases slides ponte,…"/>
          <p:cNvSpPr txBox="1">
            <a:spLocks noGrp="1"/>
          </p:cNvSpPr>
          <p:nvPr>
            <p:ph type="body" sz="half" idx="13"/>
          </p:nvPr>
        </p:nvSpPr>
        <p:spPr>
          <a:xfrm>
            <a:off x="0" y="2307054"/>
            <a:ext cx="12192000" cy="5155257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 defTabSz="2438339">
              <a:lnSpc>
                <a:spcPts val="17866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sym typeface="Futura LT Book"/>
              </a:defRPr>
            </a:lvl1pPr>
          </a:lstStyle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rases slides ponte, 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undo neutro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rPr>
                <a:solidFill>
                  <a:schemeClr val="accent5">
                    <a:hueOff val="-82419"/>
                    <a:satOff val="-9513"/>
                    <a:lumOff val="-16343"/>
                  </a:schemeClr>
                </a:solidFill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6816548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95DD4-FBA3-BD43-A5C4-5318D91B7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BCA56D-4DB0-6546-8CF3-E826719022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7EC2A8-2E88-0E4D-8860-73186CB01C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FD3471-51AB-6241-8477-85403BB7E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26D76-9C40-4C1A-B117-D55B5FD2C587}" type="datetime1">
              <a:rPr lang="en-US" smtClean="0"/>
              <a:t>4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F457A6-DB40-9743-96E9-5F4C07BF94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75DDDF-E3F8-EF40-A82B-14D2A8AAF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AB4622-4A36-9A4C-B598-C6DF12CB0A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32899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30616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62147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4875AD7-C6B5-BB44-A721-A67C940C79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178927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198831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11828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-dar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90146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4634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755040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68427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94382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5790208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here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/>
              <a:t>Click</a:t>
            </a:r>
            <a:r>
              <a:rPr lang="pt-PT" baseline="0"/>
              <a:t> the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505308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thent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99047" y="6300681"/>
            <a:ext cx="637374" cy="365125"/>
          </a:xfrm>
        </p:spPr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42820430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ent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99047" y="6300681"/>
            <a:ext cx="637374" cy="365125"/>
          </a:xfrm>
        </p:spPr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>
                <a:solidFill>
                  <a:schemeClr val="accent4"/>
                </a:solidFill>
                <a:latin typeface="EC Square Sans Pro"/>
              </a:rPr>
              <a:t>Authenticate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     Locate evidence     User request     Evidence request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Record Matching     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0C0468-FBFD-D341-9660-8CEB434721F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894638" y="1209840"/>
            <a:ext cx="2811462" cy="4915467"/>
          </a:xfrm>
          <a:effectLst>
            <a:outerShdw blurRad="259689" dist="63500" dir="8100000" algn="tr" rotWithShape="0">
              <a:schemeClr val="bg1">
                <a:lumMod val="50000"/>
                <a:alpha val="50462"/>
              </a:schemeClr>
            </a:outerShdw>
          </a:effectLst>
        </p:spPr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254852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c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    Locate evidenc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User request     Evidence request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Record Matching     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51614120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idence Reque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Evidence request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Record Matching     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05008394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rd Matc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Evidence request     </a:t>
            </a:r>
            <a:r>
              <a:rPr lang="en-GB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Record Matching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210175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idence Respon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Evidence request     </a:t>
            </a:r>
            <a:r>
              <a:rPr lang="en-GB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Record Matching     </a:t>
            </a:r>
            <a:r>
              <a:rPr lang="en-GB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8867827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3683944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Evidence request     </a:t>
            </a:r>
            <a:r>
              <a:rPr lang="en-GB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Record Matching     Evidence response    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Preview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15586295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Evidence request     </a:t>
            </a:r>
            <a:r>
              <a:rPr lang="en-GB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Record Matching     Evidence response     </a:t>
            </a:r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Preview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     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Confirm</a:t>
            </a:r>
            <a:endParaRPr lang="nl-BE" sz="900" b="1" kern="1200">
              <a:solidFill>
                <a:schemeClr val="accent4"/>
              </a:solidFill>
              <a:latin typeface="EC Square Sans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379941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User request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Evidence request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Record Matching     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21873765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20808817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70B7A2-124B-154F-B691-E004F68B59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F8DBEA1-9380-9C40-A999-4C3BECB2BB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35126" y="1786270"/>
            <a:ext cx="8314660" cy="183943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7557306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8ED8F0-1F56-F04C-8E7C-1070EA500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1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B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70B7A2-124B-154F-B691-E004F68B59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F8DBEA1-9380-9C40-A999-4C3BECB2BB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35126" y="1786270"/>
            <a:ext cx="8314660" cy="183943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5752016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388190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0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297014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3"/>
            <a:ext cx="3450220" cy="782281"/>
          </a:xfrm>
        </p:spPr>
        <p:txBody>
          <a:bodyPr>
            <a:noAutofit/>
          </a:bodyPr>
          <a:lstStyle>
            <a:lvl1pPr>
              <a:defRPr sz="270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8994" y="3180785"/>
            <a:ext cx="3449426" cy="11655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2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8466463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0373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15095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0564830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0534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4742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571711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7527683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1362721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6421714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169005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342836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677861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96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5.xml"/><Relationship Id="rId3" Type="http://schemas.openxmlformats.org/officeDocument/2006/relationships/slideLayout" Target="../slideLayouts/slideLayout370.xml"/><Relationship Id="rId7" Type="http://schemas.openxmlformats.org/officeDocument/2006/relationships/slideLayout" Target="../slideLayouts/slideLayout374.xml"/><Relationship Id="rId12" Type="http://schemas.openxmlformats.org/officeDocument/2006/relationships/image" Target="../media/image30.jpeg"/><Relationship Id="rId2" Type="http://schemas.openxmlformats.org/officeDocument/2006/relationships/slideLayout" Target="../slideLayouts/slideLayout369.xml"/><Relationship Id="rId1" Type="http://schemas.openxmlformats.org/officeDocument/2006/relationships/slideLayout" Target="../slideLayouts/slideLayout368.xml"/><Relationship Id="rId6" Type="http://schemas.openxmlformats.org/officeDocument/2006/relationships/slideLayout" Target="../slideLayouts/slideLayout373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372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371.xml"/><Relationship Id="rId9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12.xml"/><Relationship Id="rId21" Type="http://schemas.openxmlformats.org/officeDocument/2006/relationships/slideLayout" Target="../slideLayouts/slideLayout107.xml"/><Relationship Id="rId42" Type="http://schemas.openxmlformats.org/officeDocument/2006/relationships/slideLayout" Target="../slideLayouts/slideLayout128.xml"/><Relationship Id="rId47" Type="http://schemas.openxmlformats.org/officeDocument/2006/relationships/slideLayout" Target="../slideLayouts/slideLayout133.xml"/><Relationship Id="rId63" Type="http://schemas.openxmlformats.org/officeDocument/2006/relationships/slideLayout" Target="../slideLayouts/slideLayout149.xml"/><Relationship Id="rId68" Type="http://schemas.openxmlformats.org/officeDocument/2006/relationships/oleObject" Target="../embeddings/oleObject1.bin"/><Relationship Id="rId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9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slideLayout" Target="../slideLayouts/slideLayout126.xml"/><Relationship Id="rId45" Type="http://schemas.openxmlformats.org/officeDocument/2006/relationships/slideLayout" Target="../slideLayouts/slideLayout131.xml"/><Relationship Id="rId53" Type="http://schemas.openxmlformats.org/officeDocument/2006/relationships/slideLayout" Target="../slideLayouts/slideLayout139.xml"/><Relationship Id="rId58" Type="http://schemas.openxmlformats.org/officeDocument/2006/relationships/slideLayout" Target="../slideLayouts/slideLayout144.xml"/><Relationship Id="rId66" Type="http://schemas.openxmlformats.org/officeDocument/2006/relationships/vmlDrawing" Target="../drawings/vmlDrawing1.vml"/><Relationship Id="rId5" Type="http://schemas.openxmlformats.org/officeDocument/2006/relationships/slideLayout" Target="../slideLayouts/slideLayout91.xml"/><Relationship Id="rId61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Relationship Id="rId43" Type="http://schemas.openxmlformats.org/officeDocument/2006/relationships/slideLayout" Target="../slideLayouts/slideLayout129.xml"/><Relationship Id="rId48" Type="http://schemas.openxmlformats.org/officeDocument/2006/relationships/slideLayout" Target="../slideLayouts/slideLayout134.xml"/><Relationship Id="rId56" Type="http://schemas.openxmlformats.org/officeDocument/2006/relationships/slideLayout" Target="../slideLayouts/slideLayout142.xml"/><Relationship Id="rId64" Type="http://schemas.openxmlformats.org/officeDocument/2006/relationships/slideLayout" Target="../slideLayouts/slideLayout150.xml"/><Relationship Id="rId69" Type="http://schemas.openxmlformats.org/officeDocument/2006/relationships/image" Target="../media/image20.emf"/><Relationship Id="rId8" Type="http://schemas.openxmlformats.org/officeDocument/2006/relationships/slideLayout" Target="../slideLayouts/slideLayout94.xml"/><Relationship Id="rId51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46" Type="http://schemas.openxmlformats.org/officeDocument/2006/relationships/slideLayout" Target="../slideLayouts/slideLayout132.xml"/><Relationship Id="rId59" Type="http://schemas.openxmlformats.org/officeDocument/2006/relationships/slideLayout" Target="../slideLayouts/slideLayout145.xml"/><Relationship Id="rId67" Type="http://schemas.openxmlformats.org/officeDocument/2006/relationships/tags" Target="../tags/tag1.xml"/><Relationship Id="rId20" Type="http://schemas.openxmlformats.org/officeDocument/2006/relationships/slideLayout" Target="../slideLayouts/slideLayout106.xml"/><Relationship Id="rId41" Type="http://schemas.openxmlformats.org/officeDocument/2006/relationships/slideLayout" Target="../slideLayouts/slideLayout127.xml"/><Relationship Id="rId54" Type="http://schemas.openxmlformats.org/officeDocument/2006/relationships/slideLayout" Target="../slideLayouts/slideLayout140.xml"/><Relationship Id="rId6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49" Type="http://schemas.openxmlformats.org/officeDocument/2006/relationships/slideLayout" Target="../slideLayouts/slideLayout135.xml"/><Relationship Id="rId57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96.xml"/><Relationship Id="rId31" Type="http://schemas.openxmlformats.org/officeDocument/2006/relationships/slideLayout" Target="../slideLayouts/slideLayout117.xml"/><Relationship Id="rId44" Type="http://schemas.openxmlformats.org/officeDocument/2006/relationships/slideLayout" Target="../slideLayouts/slideLayout130.xml"/><Relationship Id="rId52" Type="http://schemas.openxmlformats.org/officeDocument/2006/relationships/slideLayout" Target="../slideLayouts/slideLayout138.xml"/><Relationship Id="rId60" Type="http://schemas.openxmlformats.org/officeDocument/2006/relationships/slideLayout" Target="../slideLayouts/slideLayout146.xml"/><Relationship Id="rId65" Type="http://schemas.openxmlformats.org/officeDocument/2006/relationships/theme" Target="../theme/theme3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39" Type="http://schemas.openxmlformats.org/officeDocument/2006/relationships/slideLayout" Target="../slideLayouts/slideLayout125.xml"/><Relationship Id="rId34" Type="http://schemas.openxmlformats.org/officeDocument/2006/relationships/slideLayout" Target="../slideLayouts/slideLayout120.xml"/><Relationship Id="rId50" Type="http://schemas.openxmlformats.org/officeDocument/2006/relationships/slideLayout" Target="../slideLayouts/slideLayout136.xml"/><Relationship Id="rId55" Type="http://schemas.openxmlformats.org/officeDocument/2006/relationships/slideLayout" Target="../slideLayouts/slideLayout141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76.xml"/><Relationship Id="rId21" Type="http://schemas.openxmlformats.org/officeDocument/2006/relationships/slideLayout" Target="../slideLayouts/slideLayout171.xml"/><Relationship Id="rId42" Type="http://schemas.openxmlformats.org/officeDocument/2006/relationships/slideLayout" Target="../slideLayouts/slideLayout192.xml"/><Relationship Id="rId47" Type="http://schemas.openxmlformats.org/officeDocument/2006/relationships/slideLayout" Target="../slideLayouts/slideLayout197.xml"/><Relationship Id="rId63" Type="http://schemas.openxmlformats.org/officeDocument/2006/relationships/slideLayout" Target="../slideLayouts/slideLayout213.xml"/><Relationship Id="rId68" Type="http://schemas.openxmlformats.org/officeDocument/2006/relationships/tags" Target="../tags/tag2.xml"/><Relationship Id="rId7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52.xml"/><Relationship Id="rId16" Type="http://schemas.openxmlformats.org/officeDocument/2006/relationships/slideLayout" Target="../slideLayouts/slideLayout166.xml"/><Relationship Id="rId29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61.xml"/><Relationship Id="rId24" Type="http://schemas.openxmlformats.org/officeDocument/2006/relationships/slideLayout" Target="../slideLayouts/slideLayout174.xml"/><Relationship Id="rId32" Type="http://schemas.openxmlformats.org/officeDocument/2006/relationships/slideLayout" Target="../slideLayouts/slideLayout182.xml"/><Relationship Id="rId37" Type="http://schemas.openxmlformats.org/officeDocument/2006/relationships/slideLayout" Target="../slideLayouts/slideLayout187.xml"/><Relationship Id="rId40" Type="http://schemas.openxmlformats.org/officeDocument/2006/relationships/slideLayout" Target="../slideLayouts/slideLayout190.xml"/><Relationship Id="rId45" Type="http://schemas.openxmlformats.org/officeDocument/2006/relationships/slideLayout" Target="../slideLayouts/slideLayout195.xml"/><Relationship Id="rId53" Type="http://schemas.openxmlformats.org/officeDocument/2006/relationships/slideLayout" Target="../slideLayouts/slideLayout203.xml"/><Relationship Id="rId58" Type="http://schemas.openxmlformats.org/officeDocument/2006/relationships/slideLayout" Target="../slideLayouts/slideLayout208.xml"/><Relationship Id="rId66" Type="http://schemas.openxmlformats.org/officeDocument/2006/relationships/theme" Target="../theme/theme4.xml"/><Relationship Id="rId5" Type="http://schemas.openxmlformats.org/officeDocument/2006/relationships/slideLayout" Target="../slideLayouts/slideLayout155.xml"/><Relationship Id="rId61" Type="http://schemas.openxmlformats.org/officeDocument/2006/relationships/slideLayout" Target="../slideLayouts/slideLayout211.xml"/><Relationship Id="rId19" Type="http://schemas.openxmlformats.org/officeDocument/2006/relationships/slideLayout" Target="../slideLayouts/slideLayout169.xml"/><Relationship Id="rId14" Type="http://schemas.openxmlformats.org/officeDocument/2006/relationships/slideLayout" Target="../slideLayouts/slideLayout164.xml"/><Relationship Id="rId22" Type="http://schemas.openxmlformats.org/officeDocument/2006/relationships/slideLayout" Target="../slideLayouts/slideLayout172.xml"/><Relationship Id="rId27" Type="http://schemas.openxmlformats.org/officeDocument/2006/relationships/slideLayout" Target="../slideLayouts/slideLayout177.xml"/><Relationship Id="rId30" Type="http://schemas.openxmlformats.org/officeDocument/2006/relationships/slideLayout" Target="../slideLayouts/slideLayout180.xml"/><Relationship Id="rId35" Type="http://schemas.openxmlformats.org/officeDocument/2006/relationships/slideLayout" Target="../slideLayouts/slideLayout185.xml"/><Relationship Id="rId43" Type="http://schemas.openxmlformats.org/officeDocument/2006/relationships/slideLayout" Target="../slideLayouts/slideLayout193.xml"/><Relationship Id="rId48" Type="http://schemas.openxmlformats.org/officeDocument/2006/relationships/slideLayout" Target="../slideLayouts/slideLayout198.xml"/><Relationship Id="rId56" Type="http://schemas.openxmlformats.org/officeDocument/2006/relationships/slideLayout" Target="../slideLayouts/slideLayout206.xml"/><Relationship Id="rId64" Type="http://schemas.openxmlformats.org/officeDocument/2006/relationships/slideLayout" Target="../slideLayouts/slideLayout214.xml"/><Relationship Id="rId69" Type="http://schemas.openxmlformats.org/officeDocument/2006/relationships/oleObject" Target="../embeddings/oleObject2.bin"/><Relationship Id="rId8" Type="http://schemas.openxmlformats.org/officeDocument/2006/relationships/slideLayout" Target="../slideLayouts/slideLayout158.xml"/><Relationship Id="rId51" Type="http://schemas.openxmlformats.org/officeDocument/2006/relationships/slideLayout" Target="../slideLayouts/slideLayout201.xml"/><Relationship Id="rId3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62.xml"/><Relationship Id="rId17" Type="http://schemas.openxmlformats.org/officeDocument/2006/relationships/slideLayout" Target="../slideLayouts/slideLayout167.xml"/><Relationship Id="rId25" Type="http://schemas.openxmlformats.org/officeDocument/2006/relationships/slideLayout" Target="../slideLayouts/slideLayout175.xml"/><Relationship Id="rId33" Type="http://schemas.openxmlformats.org/officeDocument/2006/relationships/slideLayout" Target="../slideLayouts/slideLayout183.xml"/><Relationship Id="rId38" Type="http://schemas.openxmlformats.org/officeDocument/2006/relationships/slideLayout" Target="../slideLayouts/slideLayout188.xml"/><Relationship Id="rId46" Type="http://schemas.openxmlformats.org/officeDocument/2006/relationships/slideLayout" Target="../slideLayouts/slideLayout196.xml"/><Relationship Id="rId59" Type="http://schemas.openxmlformats.org/officeDocument/2006/relationships/slideLayout" Target="../slideLayouts/slideLayout209.xml"/><Relationship Id="rId67" Type="http://schemas.openxmlformats.org/officeDocument/2006/relationships/vmlDrawing" Target="../drawings/vmlDrawing2.vml"/><Relationship Id="rId20" Type="http://schemas.openxmlformats.org/officeDocument/2006/relationships/slideLayout" Target="../slideLayouts/slideLayout170.xml"/><Relationship Id="rId41" Type="http://schemas.openxmlformats.org/officeDocument/2006/relationships/slideLayout" Target="../slideLayouts/slideLayout191.xml"/><Relationship Id="rId54" Type="http://schemas.openxmlformats.org/officeDocument/2006/relationships/slideLayout" Target="../slideLayouts/slideLayout204.xml"/><Relationship Id="rId62" Type="http://schemas.openxmlformats.org/officeDocument/2006/relationships/slideLayout" Target="../slideLayouts/slideLayout212.xml"/><Relationship Id="rId70" Type="http://schemas.openxmlformats.org/officeDocument/2006/relationships/image" Target="../media/image20.emf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5.xml"/><Relationship Id="rId23" Type="http://schemas.openxmlformats.org/officeDocument/2006/relationships/slideLayout" Target="../slideLayouts/slideLayout173.xml"/><Relationship Id="rId28" Type="http://schemas.openxmlformats.org/officeDocument/2006/relationships/slideLayout" Target="../slideLayouts/slideLayout178.xml"/><Relationship Id="rId36" Type="http://schemas.openxmlformats.org/officeDocument/2006/relationships/slideLayout" Target="../slideLayouts/slideLayout186.xml"/><Relationship Id="rId49" Type="http://schemas.openxmlformats.org/officeDocument/2006/relationships/slideLayout" Target="../slideLayouts/slideLayout199.xml"/><Relationship Id="rId57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160.xml"/><Relationship Id="rId31" Type="http://schemas.openxmlformats.org/officeDocument/2006/relationships/slideLayout" Target="../slideLayouts/slideLayout181.xml"/><Relationship Id="rId44" Type="http://schemas.openxmlformats.org/officeDocument/2006/relationships/slideLayout" Target="../slideLayouts/slideLayout194.xml"/><Relationship Id="rId52" Type="http://schemas.openxmlformats.org/officeDocument/2006/relationships/slideLayout" Target="../slideLayouts/slideLayout202.xml"/><Relationship Id="rId60" Type="http://schemas.openxmlformats.org/officeDocument/2006/relationships/slideLayout" Target="../slideLayouts/slideLayout210.xml"/><Relationship Id="rId65" Type="http://schemas.openxmlformats.org/officeDocument/2006/relationships/slideLayout" Target="../slideLayouts/slideLayout215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3.xml"/><Relationship Id="rId18" Type="http://schemas.openxmlformats.org/officeDocument/2006/relationships/slideLayout" Target="../slideLayouts/slideLayout168.xml"/><Relationship Id="rId39" Type="http://schemas.openxmlformats.org/officeDocument/2006/relationships/slideLayout" Target="../slideLayouts/slideLayout189.xml"/><Relationship Id="rId34" Type="http://schemas.openxmlformats.org/officeDocument/2006/relationships/slideLayout" Target="../slideLayouts/slideLayout184.xml"/><Relationship Id="rId50" Type="http://schemas.openxmlformats.org/officeDocument/2006/relationships/slideLayout" Target="../slideLayouts/slideLayout200.xml"/><Relationship Id="rId55" Type="http://schemas.openxmlformats.org/officeDocument/2006/relationships/slideLayout" Target="../slideLayouts/slideLayout20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3.xml"/><Relationship Id="rId3" Type="http://schemas.openxmlformats.org/officeDocument/2006/relationships/slideLayout" Target="../slideLayouts/slideLayout218.xml"/><Relationship Id="rId7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21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225.xml"/><Relationship Id="rId4" Type="http://schemas.openxmlformats.org/officeDocument/2006/relationships/slideLayout" Target="../slideLayouts/slideLayout219.xml"/><Relationship Id="rId9" Type="http://schemas.openxmlformats.org/officeDocument/2006/relationships/slideLayout" Target="../slideLayouts/slideLayout224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51.xml"/><Relationship Id="rId21" Type="http://schemas.openxmlformats.org/officeDocument/2006/relationships/slideLayout" Target="../slideLayouts/slideLayout246.xml"/><Relationship Id="rId34" Type="http://schemas.openxmlformats.org/officeDocument/2006/relationships/slideLayout" Target="../slideLayouts/slideLayout259.xml"/><Relationship Id="rId42" Type="http://schemas.openxmlformats.org/officeDocument/2006/relationships/slideLayout" Target="../slideLayouts/slideLayout267.xml"/><Relationship Id="rId47" Type="http://schemas.openxmlformats.org/officeDocument/2006/relationships/slideLayout" Target="../slideLayouts/slideLayout272.xml"/><Relationship Id="rId50" Type="http://schemas.openxmlformats.org/officeDocument/2006/relationships/slideLayout" Target="../slideLayouts/slideLayout275.xml"/><Relationship Id="rId55" Type="http://schemas.openxmlformats.org/officeDocument/2006/relationships/slideLayout" Target="../slideLayouts/slideLayout280.xml"/><Relationship Id="rId63" Type="http://schemas.openxmlformats.org/officeDocument/2006/relationships/theme" Target="../theme/theme6.xml"/><Relationship Id="rId7" Type="http://schemas.openxmlformats.org/officeDocument/2006/relationships/slideLayout" Target="../slideLayouts/slideLayout232.xml"/><Relationship Id="rId2" Type="http://schemas.openxmlformats.org/officeDocument/2006/relationships/slideLayout" Target="../slideLayouts/slideLayout227.xml"/><Relationship Id="rId16" Type="http://schemas.openxmlformats.org/officeDocument/2006/relationships/slideLayout" Target="../slideLayouts/slideLayout241.xml"/><Relationship Id="rId29" Type="http://schemas.openxmlformats.org/officeDocument/2006/relationships/slideLayout" Target="../slideLayouts/slideLayout254.xml"/><Relationship Id="rId11" Type="http://schemas.openxmlformats.org/officeDocument/2006/relationships/slideLayout" Target="../slideLayouts/slideLayout236.xml"/><Relationship Id="rId24" Type="http://schemas.openxmlformats.org/officeDocument/2006/relationships/slideLayout" Target="../slideLayouts/slideLayout249.xml"/><Relationship Id="rId32" Type="http://schemas.openxmlformats.org/officeDocument/2006/relationships/slideLayout" Target="../slideLayouts/slideLayout257.xml"/><Relationship Id="rId37" Type="http://schemas.openxmlformats.org/officeDocument/2006/relationships/slideLayout" Target="../slideLayouts/slideLayout262.xml"/><Relationship Id="rId40" Type="http://schemas.openxmlformats.org/officeDocument/2006/relationships/slideLayout" Target="../slideLayouts/slideLayout265.xml"/><Relationship Id="rId45" Type="http://schemas.openxmlformats.org/officeDocument/2006/relationships/slideLayout" Target="../slideLayouts/slideLayout270.xml"/><Relationship Id="rId53" Type="http://schemas.openxmlformats.org/officeDocument/2006/relationships/slideLayout" Target="../slideLayouts/slideLayout278.xml"/><Relationship Id="rId58" Type="http://schemas.openxmlformats.org/officeDocument/2006/relationships/slideLayout" Target="../slideLayouts/slideLayout283.xml"/><Relationship Id="rId66" Type="http://schemas.openxmlformats.org/officeDocument/2006/relationships/oleObject" Target="../embeddings/oleObject3.bin"/><Relationship Id="rId5" Type="http://schemas.openxmlformats.org/officeDocument/2006/relationships/slideLayout" Target="../slideLayouts/slideLayout230.xml"/><Relationship Id="rId61" Type="http://schemas.openxmlformats.org/officeDocument/2006/relationships/slideLayout" Target="../slideLayouts/slideLayout286.xml"/><Relationship Id="rId19" Type="http://schemas.openxmlformats.org/officeDocument/2006/relationships/slideLayout" Target="../slideLayouts/slideLayout244.xml"/><Relationship Id="rId14" Type="http://schemas.openxmlformats.org/officeDocument/2006/relationships/slideLayout" Target="../slideLayouts/slideLayout239.xml"/><Relationship Id="rId22" Type="http://schemas.openxmlformats.org/officeDocument/2006/relationships/slideLayout" Target="../slideLayouts/slideLayout247.xml"/><Relationship Id="rId27" Type="http://schemas.openxmlformats.org/officeDocument/2006/relationships/slideLayout" Target="../slideLayouts/slideLayout252.xml"/><Relationship Id="rId30" Type="http://schemas.openxmlformats.org/officeDocument/2006/relationships/slideLayout" Target="../slideLayouts/slideLayout255.xml"/><Relationship Id="rId35" Type="http://schemas.openxmlformats.org/officeDocument/2006/relationships/slideLayout" Target="../slideLayouts/slideLayout260.xml"/><Relationship Id="rId43" Type="http://schemas.openxmlformats.org/officeDocument/2006/relationships/slideLayout" Target="../slideLayouts/slideLayout268.xml"/><Relationship Id="rId48" Type="http://schemas.openxmlformats.org/officeDocument/2006/relationships/slideLayout" Target="../slideLayouts/slideLayout273.xml"/><Relationship Id="rId56" Type="http://schemas.openxmlformats.org/officeDocument/2006/relationships/slideLayout" Target="../slideLayouts/slideLayout281.xml"/><Relationship Id="rId64" Type="http://schemas.openxmlformats.org/officeDocument/2006/relationships/vmlDrawing" Target="../drawings/vmlDrawing3.vml"/><Relationship Id="rId8" Type="http://schemas.openxmlformats.org/officeDocument/2006/relationships/slideLayout" Target="../slideLayouts/slideLayout233.xml"/><Relationship Id="rId51" Type="http://schemas.openxmlformats.org/officeDocument/2006/relationships/slideLayout" Target="../slideLayouts/slideLayout276.xml"/><Relationship Id="rId3" Type="http://schemas.openxmlformats.org/officeDocument/2006/relationships/slideLayout" Target="../slideLayouts/slideLayout228.xml"/><Relationship Id="rId12" Type="http://schemas.openxmlformats.org/officeDocument/2006/relationships/slideLayout" Target="../slideLayouts/slideLayout237.xml"/><Relationship Id="rId17" Type="http://schemas.openxmlformats.org/officeDocument/2006/relationships/slideLayout" Target="../slideLayouts/slideLayout242.xml"/><Relationship Id="rId25" Type="http://schemas.openxmlformats.org/officeDocument/2006/relationships/slideLayout" Target="../slideLayouts/slideLayout250.xml"/><Relationship Id="rId33" Type="http://schemas.openxmlformats.org/officeDocument/2006/relationships/slideLayout" Target="../slideLayouts/slideLayout258.xml"/><Relationship Id="rId38" Type="http://schemas.openxmlformats.org/officeDocument/2006/relationships/slideLayout" Target="../slideLayouts/slideLayout263.xml"/><Relationship Id="rId46" Type="http://schemas.openxmlformats.org/officeDocument/2006/relationships/slideLayout" Target="../slideLayouts/slideLayout271.xml"/><Relationship Id="rId59" Type="http://schemas.openxmlformats.org/officeDocument/2006/relationships/slideLayout" Target="../slideLayouts/slideLayout284.xml"/><Relationship Id="rId67" Type="http://schemas.openxmlformats.org/officeDocument/2006/relationships/image" Target="../media/image20.emf"/><Relationship Id="rId20" Type="http://schemas.openxmlformats.org/officeDocument/2006/relationships/slideLayout" Target="../slideLayouts/slideLayout245.xml"/><Relationship Id="rId41" Type="http://schemas.openxmlformats.org/officeDocument/2006/relationships/slideLayout" Target="../slideLayouts/slideLayout266.xml"/><Relationship Id="rId54" Type="http://schemas.openxmlformats.org/officeDocument/2006/relationships/slideLayout" Target="../slideLayouts/slideLayout279.xml"/><Relationship Id="rId62" Type="http://schemas.openxmlformats.org/officeDocument/2006/relationships/slideLayout" Target="../slideLayouts/slideLayout287.xml"/><Relationship Id="rId1" Type="http://schemas.openxmlformats.org/officeDocument/2006/relationships/slideLayout" Target="../slideLayouts/slideLayout226.xml"/><Relationship Id="rId6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0.xml"/><Relationship Id="rId23" Type="http://schemas.openxmlformats.org/officeDocument/2006/relationships/slideLayout" Target="../slideLayouts/slideLayout248.xml"/><Relationship Id="rId28" Type="http://schemas.openxmlformats.org/officeDocument/2006/relationships/slideLayout" Target="../slideLayouts/slideLayout253.xml"/><Relationship Id="rId36" Type="http://schemas.openxmlformats.org/officeDocument/2006/relationships/slideLayout" Target="../slideLayouts/slideLayout261.xml"/><Relationship Id="rId49" Type="http://schemas.openxmlformats.org/officeDocument/2006/relationships/slideLayout" Target="../slideLayouts/slideLayout274.xml"/><Relationship Id="rId57" Type="http://schemas.openxmlformats.org/officeDocument/2006/relationships/slideLayout" Target="../slideLayouts/slideLayout282.xml"/><Relationship Id="rId10" Type="http://schemas.openxmlformats.org/officeDocument/2006/relationships/slideLayout" Target="../slideLayouts/slideLayout235.xml"/><Relationship Id="rId31" Type="http://schemas.openxmlformats.org/officeDocument/2006/relationships/slideLayout" Target="../slideLayouts/slideLayout256.xml"/><Relationship Id="rId44" Type="http://schemas.openxmlformats.org/officeDocument/2006/relationships/slideLayout" Target="../slideLayouts/slideLayout269.xml"/><Relationship Id="rId52" Type="http://schemas.openxmlformats.org/officeDocument/2006/relationships/slideLayout" Target="../slideLayouts/slideLayout277.xml"/><Relationship Id="rId60" Type="http://schemas.openxmlformats.org/officeDocument/2006/relationships/slideLayout" Target="../slideLayouts/slideLayout285.xml"/><Relationship Id="rId65" Type="http://schemas.openxmlformats.org/officeDocument/2006/relationships/tags" Target="../tags/tag3.xml"/><Relationship Id="rId4" Type="http://schemas.openxmlformats.org/officeDocument/2006/relationships/slideLayout" Target="../slideLayouts/slideLayout229.xml"/><Relationship Id="rId9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8.xml"/><Relationship Id="rId18" Type="http://schemas.openxmlformats.org/officeDocument/2006/relationships/slideLayout" Target="../slideLayouts/slideLayout243.xml"/><Relationship Id="rId39" Type="http://schemas.openxmlformats.org/officeDocument/2006/relationships/slideLayout" Target="../slideLayouts/slideLayout264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0.xml"/><Relationship Id="rId18" Type="http://schemas.openxmlformats.org/officeDocument/2006/relationships/slideLayout" Target="../slideLayouts/slideLayout305.xml"/><Relationship Id="rId26" Type="http://schemas.openxmlformats.org/officeDocument/2006/relationships/slideLayout" Target="../slideLayouts/slideLayout313.xml"/><Relationship Id="rId39" Type="http://schemas.openxmlformats.org/officeDocument/2006/relationships/slideLayout" Target="../slideLayouts/slideLayout326.xml"/><Relationship Id="rId21" Type="http://schemas.openxmlformats.org/officeDocument/2006/relationships/slideLayout" Target="../slideLayouts/slideLayout308.xml"/><Relationship Id="rId34" Type="http://schemas.openxmlformats.org/officeDocument/2006/relationships/slideLayout" Target="../slideLayouts/slideLayout321.xml"/><Relationship Id="rId42" Type="http://schemas.openxmlformats.org/officeDocument/2006/relationships/slideLayout" Target="../slideLayouts/slideLayout329.xml"/><Relationship Id="rId47" Type="http://schemas.openxmlformats.org/officeDocument/2006/relationships/slideLayout" Target="../slideLayouts/slideLayout334.xml"/><Relationship Id="rId50" Type="http://schemas.openxmlformats.org/officeDocument/2006/relationships/slideLayout" Target="../slideLayouts/slideLayout337.xml"/><Relationship Id="rId55" Type="http://schemas.openxmlformats.org/officeDocument/2006/relationships/slideLayout" Target="../slideLayouts/slideLayout342.xml"/><Relationship Id="rId63" Type="http://schemas.openxmlformats.org/officeDocument/2006/relationships/slideLayout" Target="../slideLayouts/slideLayout350.xml"/><Relationship Id="rId7" Type="http://schemas.openxmlformats.org/officeDocument/2006/relationships/slideLayout" Target="../slideLayouts/slideLayout294.xml"/><Relationship Id="rId2" Type="http://schemas.openxmlformats.org/officeDocument/2006/relationships/slideLayout" Target="../slideLayouts/slideLayout289.xml"/><Relationship Id="rId16" Type="http://schemas.openxmlformats.org/officeDocument/2006/relationships/slideLayout" Target="../slideLayouts/slideLayout303.xml"/><Relationship Id="rId29" Type="http://schemas.openxmlformats.org/officeDocument/2006/relationships/slideLayout" Target="../slideLayouts/slideLayout316.xml"/><Relationship Id="rId11" Type="http://schemas.openxmlformats.org/officeDocument/2006/relationships/slideLayout" Target="../slideLayouts/slideLayout298.xml"/><Relationship Id="rId24" Type="http://schemas.openxmlformats.org/officeDocument/2006/relationships/slideLayout" Target="../slideLayouts/slideLayout311.xml"/><Relationship Id="rId32" Type="http://schemas.openxmlformats.org/officeDocument/2006/relationships/slideLayout" Target="../slideLayouts/slideLayout319.xml"/><Relationship Id="rId37" Type="http://schemas.openxmlformats.org/officeDocument/2006/relationships/slideLayout" Target="../slideLayouts/slideLayout324.xml"/><Relationship Id="rId40" Type="http://schemas.openxmlformats.org/officeDocument/2006/relationships/slideLayout" Target="../slideLayouts/slideLayout327.xml"/><Relationship Id="rId45" Type="http://schemas.openxmlformats.org/officeDocument/2006/relationships/slideLayout" Target="../slideLayouts/slideLayout332.xml"/><Relationship Id="rId53" Type="http://schemas.openxmlformats.org/officeDocument/2006/relationships/slideLayout" Target="../slideLayouts/slideLayout340.xml"/><Relationship Id="rId58" Type="http://schemas.openxmlformats.org/officeDocument/2006/relationships/slideLayout" Target="../slideLayouts/slideLayout345.xml"/><Relationship Id="rId5" Type="http://schemas.openxmlformats.org/officeDocument/2006/relationships/slideLayout" Target="../slideLayouts/slideLayout292.xml"/><Relationship Id="rId61" Type="http://schemas.openxmlformats.org/officeDocument/2006/relationships/slideLayout" Target="../slideLayouts/slideLayout348.xml"/><Relationship Id="rId19" Type="http://schemas.openxmlformats.org/officeDocument/2006/relationships/slideLayout" Target="../slideLayouts/slideLayout306.xml"/><Relationship Id="rId14" Type="http://schemas.openxmlformats.org/officeDocument/2006/relationships/slideLayout" Target="../slideLayouts/slideLayout301.xml"/><Relationship Id="rId22" Type="http://schemas.openxmlformats.org/officeDocument/2006/relationships/slideLayout" Target="../slideLayouts/slideLayout309.xml"/><Relationship Id="rId27" Type="http://schemas.openxmlformats.org/officeDocument/2006/relationships/slideLayout" Target="../slideLayouts/slideLayout314.xml"/><Relationship Id="rId30" Type="http://schemas.openxmlformats.org/officeDocument/2006/relationships/slideLayout" Target="../slideLayouts/slideLayout317.xml"/><Relationship Id="rId35" Type="http://schemas.openxmlformats.org/officeDocument/2006/relationships/slideLayout" Target="../slideLayouts/slideLayout322.xml"/><Relationship Id="rId43" Type="http://schemas.openxmlformats.org/officeDocument/2006/relationships/slideLayout" Target="../slideLayouts/slideLayout330.xml"/><Relationship Id="rId48" Type="http://schemas.openxmlformats.org/officeDocument/2006/relationships/slideLayout" Target="../slideLayouts/slideLayout335.xml"/><Relationship Id="rId56" Type="http://schemas.openxmlformats.org/officeDocument/2006/relationships/slideLayout" Target="../slideLayouts/slideLayout343.xml"/><Relationship Id="rId64" Type="http://schemas.openxmlformats.org/officeDocument/2006/relationships/theme" Target="../theme/theme7.xml"/><Relationship Id="rId8" Type="http://schemas.openxmlformats.org/officeDocument/2006/relationships/slideLayout" Target="../slideLayouts/slideLayout295.xml"/><Relationship Id="rId51" Type="http://schemas.openxmlformats.org/officeDocument/2006/relationships/slideLayout" Target="../slideLayouts/slideLayout338.xml"/><Relationship Id="rId3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9.xml"/><Relationship Id="rId17" Type="http://schemas.openxmlformats.org/officeDocument/2006/relationships/slideLayout" Target="../slideLayouts/slideLayout304.xml"/><Relationship Id="rId25" Type="http://schemas.openxmlformats.org/officeDocument/2006/relationships/slideLayout" Target="../slideLayouts/slideLayout312.xml"/><Relationship Id="rId33" Type="http://schemas.openxmlformats.org/officeDocument/2006/relationships/slideLayout" Target="../slideLayouts/slideLayout320.xml"/><Relationship Id="rId38" Type="http://schemas.openxmlformats.org/officeDocument/2006/relationships/slideLayout" Target="../slideLayouts/slideLayout325.xml"/><Relationship Id="rId46" Type="http://schemas.openxmlformats.org/officeDocument/2006/relationships/slideLayout" Target="../slideLayouts/slideLayout333.xml"/><Relationship Id="rId59" Type="http://schemas.openxmlformats.org/officeDocument/2006/relationships/slideLayout" Target="../slideLayouts/slideLayout346.xml"/><Relationship Id="rId20" Type="http://schemas.openxmlformats.org/officeDocument/2006/relationships/slideLayout" Target="../slideLayouts/slideLayout307.xml"/><Relationship Id="rId41" Type="http://schemas.openxmlformats.org/officeDocument/2006/relationships/slideLayout" Target="../slideLayouts/slideLayout328.xml"/><Relationship Id="rId54" Type="http://schemas.openxmlformats.org/officeDocument/2006/relationships/slideLayout" Target="../slideLayouts/slideLayout341.xml"/><Relationship Id="rId62" Type="http://schemas.openxmlformats.org/officeDocument/2006/relationships/slideLayout" Target="../slideLayouts/slideLayout34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5" Type="http://schemas.openxmlformats.org/officeDocument/2006/relationships/slideLayout" Target="../slideLayouts/slideLayout302.xml"/><Relationship Id="rId23" Type="http://schemas.openxmlformats.org/officeDocument/2006/relationships/slideLayout" Target="../slideLayouts/slideLayout310.xml"/><Relationship Id="rId28" Type="http://schemas.openxmlformats.org/officeDocument/2006/relationships/slideLayout" Target="../slideLayouts/slideLayout315.xml"/><Relationship Id="rId36" Type="http://schemas.openxmlformats.org/officeDocument/2006/relationships/slideLayout" Target="../slideLayouts/slideLayout323.xml"/><Relationship Id="rId49" Type="http://schemas.openxmlformats.org/officeDocument/2006/relationships/slideLayout" Target="../slideLayouts/slideLayout336.xml"/><Relationship Id="rId57" Type="http://schemas.openxmlformats.org/officeDocument/2006/relationships/slideLayout" Target="../slideLayouts/slideLayout344.xml"/><Relationship Id="rId10" Type="http://schemas.openxmlformats.org/officeDocument/2006/relationships/slideLayout" Target="../slideLayouts/slideLayout297.xml"/><Relationship Id="rId31" Type="http://schemas.openxmlformats.org/officeDocument/2006/relationships/slideLayout" Target="../slideLayouts/slideLayout318.xml"/><Relationship Id="rId44" Type="http://schemas.openxmlformats.org/officeDocument/2006/relationships/slideLayout" Target="../slideLayouts/slideLayout331.xml"/><Relationship Id="rId52" Type="http://schemas.openxmlformats.org/officeDocument/2006/relationships/slideLayout" Target="../slideLayouts/slideLayout339.xml"/><Relationship Id="rId60" Type="http://schemas.openxmlformats.org/officeDocument/2006/relationships/slideLayout" Target="../slideLayouts/slideLayout34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8.xml"/><Relationship Id="rId3" Type="http://schemas.openxmlformats.org/officeDocument/2006/relationships/slideLayout" Target="../slideLayouts/slideLayout353.xml"/><Relationship Id="rId7" Type="http://schemas.openxmlformats.org/officeDocument/2006/relationships/slideLayout" Target="../slideLayouts/slideLayout357.xml"/><Relationship Id="rId2" Type="http://schemas.openxmlformats.org/officeDocument/2006/relationships/slideLayout" Target="../slideLayouts/slideLayout352.xml"/><Relationship Id="rId1" Type="http://schemas.openxmlformats.org/officeDocument/2006/relationships/slideLayout" Target="../slideLayouts/slideLayout351.xml"/><Relationship Id="rId6" Type="http://schemas.openxmlformats.org/officeDocument/2006/relationships/slideLayout" Target="../slideLayouts/slideLayout356.xml"/><Relationship Id="rId5" Type="http://schemas.openxmlformats.org/officeDocument/2006/relationships/slideLayout" Target="../slideLayouts/slideLayout355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354.xml"/><Relationship Id="rId9" Type="http://schemas.openxmlformats.org/officeDocument/2006/relationships/slideLayout" Target="../slideLayouts/slideLayout35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7.xml"/><Relationship Id="rId3" Type="http://schemas.openxmlformats.org/officeDocument/2006/relationships/slideLayout" Target="../slideLayouts/slideLayout362.xml"/><Relationship Id="rId7" Type="http://schemas.openxmlformats.org/officeDocument/2006/relationships/slideLayout" Target="../slideLayouts/slideLayout366.xml"/><Relationship Id="rId2" Type="http://schemas.openxmlformats.org/officeDocument/2006/relationships/slideLayout" Target="../slideLayouts/slideLayout361.xml"/><Relationship Id="rId1" Type="http://schemas.openxmlformats.org/officeDocument/2006/relationships/slideLayout" Target="../slideLayouts/slideLayout360.xml"/><Relationship Id="rId6" Type="http://schemas.openxmlformats.org/officeDocument/2006/relationships/slideLayout" Target="../slideLayouts/slideLayout365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364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363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039289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4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1415251" y="6279515"/>
            <a:ext cx="776749" cy="329299"/>
          </a:xfrm>
          <a:prstGeom prst="rect">
            <a:avLst/>
          </a:prstGeom>
          <a:gradFill>
            <a:gsLst>
              <a:gs pos="0">
                <a:srgbClr val="E30613"/>
              </a:gs>
              <a:gs pos="45000">
                <a:srgbClr val="721C58"/>
              </a:gs>
              <a:gs pos="24000">
                <a:srgbClr val="98192C"/>
              </a:gs>
              <a:gs pos="74000">
                <a:srgbClr val="1E9A92"/>
              </a:gs>
              <a:gs pos="100000">
                <a:srgbClr val="223A89">
                  <a:alpha val="99000"/>
                </a:srgbClr>
              </a:gs>
            </a:gsLst>
            <a:lin ang="2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717635"/>
            <a:ext cx="8291384" cy="122738"/>
          </a:xfrm>
          <a:prstGeom prst="rect">
            <a:avLst/>
          </a:prstGeom>
          <a:gradFill>
            <a:gsLst>
              <a:gs pos="0">
                <a:srgbClr val="E30613"/>
              </a:gs>
              <a:gs pos="45000">
                <a:srgbClr val="721C58"/>
              </a:gs>
              <a:gs pos="24000">
                <a:srgbClr val="98192C"/>
              </a:gs>
              <a:gs pos="74000">
                <a:srgbClr val="1E9A92"/>
              </a:gs>
              <a:gs pos="100000">
                <a:srgbClr val="223A89">
                  <a:alpha val="99000"/>
                </a:srgbClr>
              </a:gs>
            </a:gsLst>
            <a:lin ang="2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670" y="779004"/>
            <a:ext cx="1357162" cy="714296"/>
          </a:xfrm>
          <a:prstGeom prst="rect">
            <a:avLst/>
          </a:prstGeom>
        </p:spPr>
      </p:pic>
      <p:sp>
        <p:nvSpPr>
          <p:cNvPr id="3" name="ZoneTexte 2"/>
          <p:cNvSpPr txBox="1"/>
          <p:nvPr userDrawn="1"/>
        </p:nvSpPr>
        <p:spPr>
          <a:xfrm>
            <a:off x="5661829" y="6440511"/>
            <a:ext cx="10748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err="1"/>
              <a:t>Restricted</a:t>
            </a:r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D92B086-1F6D-4FB7-9B9B-8752AC5A24F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3042" y="6043"/>
            <a:ext cx="1357162" cy="859984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3F79809C-083B-4FB0-B512-02FF3BD9DAD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4883" y="140725"/>
            <a:ext cx="1844660" cy="1276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180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  <p:sldLayoutId id="2147484118" r:id="rId4"/>
    <p:sldLayoutId id="2147484119" r:id="rId5"/>
    <p:sldLayoutId id="2147484120" r:id="rId6"/>
    <p:sldLayoutId id="2147484121" r:id="rId7"/>
    <p:sldLayoutId id="2147484122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58641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951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112019-6004-43D7-874B-FE0B0AE56C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327837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7" name="think-cell Slide" r:id="rId68" imgW="592" imgH="595" progId="TCLayout.ActiveDocument.1">
                  <p:embed/>
                </p:oleObj>
              </mc:Choice>
              <mc:Fallback>
                <p:oleObj name="think-cell Slide" r:id="rId68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112019-6004-43D7-874B-FE0B0AE56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16614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  <p:sldLayoutId id="2147483771" r:id="rId24"/>
    <p:sldLayoutId id="2147483772" r:id="rId25"/>
    <p:sldLayoutId id="2147483773" r:id="rId26"/>
    <p:sldLayoutId id="2147483774" r:id="rId27"/>
    <p:sldLayoutId id="2147483775" r:id="rId28"/>
    <p:sldLayoutId id="2147483776" r:id="rId29"/>
    <p:sldLayoutId id="2147483777" r:id="rId30"/>
    <p:sldLayoutId id="2147483778" r:id="rId31"/>
    <p:sldLayoutId id="2147483779" r:id="rId32"/>
    <p:sldLayoutId id="2147483780" r:id="rId33"/>
    <p:sldLayoutId id="2147483781" r:id="rId34"/>
    <p:sldLayoutId id="2147483782" r:id="rId35"/>
    <p:sldLayoutId id="2147483783" r:id="rId36"/>
    <p:sldLayoutId id="2147483784" r:id="rId37"/>
    <p:sldLayoutId id="2147483785" r:id="rId38"/>
    <p:sldLayoutId id="2147483786" r:id="rId39"/>
    <p:sldLayoutId id="2147483787" r:id="rId40"/>
    <p:sldLayoutId id="2147483788" r:id="rId41"/>
    <p:sldLayoutId id="2147483789" r:id="rId42"/>
    <p:sldLayoutId id="2147483790" r:id="rId43"/>
    <p:sldLayoutId id="2147483791" r:id="rId44"/>
    <p:sldLayoutId id="2147483792" r:id="rId45"/>
    <p:sldLayoutId id="2147483793" r:id="rId46"/>
    <p:sldLayoutId id="2147483794" r:id="rId47"/>
    <p:sldLayoutId id="2147483795" r:id="rId48"/>
    <p:sldLayoutId id="2147483796" r:id="rId49"/>
    <p:sldLayoutId id="2147483797" r:id="rId50"/>
    <p:sldLayoutId id="2147483798" r:id="rId51"/>
    <p:sldLayoutId id="2147483799" r:id="rId52"/>
    <p:sldLayoutId id="2147483800" r:id="rId53"/>
    <p:sldLayoutId id="2147483801" r:id="rId54"/>
    <p:sldLayoutId id="2147483802" r:id="rId55"/>
    <p:sldLayoutId id="2147483803" r:id="rId56"/>
    <p:sldLayoutId id="2147483804" r:id="rId57"/>
    <p:sldLayoutId id="2147483805" r:id="rId58"/>
    <p:sldLayoutId id="2147483854" r:id="rId59"/>
    <p:sldLayoutId id="2147483855" r:id="rId60"/>
    <p:sldLayoutId id="2147483926" r:id="rId61"/>
    <p:sldLayoutId id="2147483927" r:id="rId62"/>
    <p:sldLayoutId id="2147484016" r:id="rId63"/>
    <p:sldLayoutId id="2147483806" r:id="rId6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024B166-4E50-4F0A-9D05-016CAE1CC4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697" name="think-cell Slide" r:id="rId69" imgW="592" imgH="595" progId="TCLayout.ActiveDocument.1">
                  <p:embed/>
                </p:oleObj>
              </mc:Choice>
              <mc:Fallback>
                <p:oleObj name="think-cell Slide" r:id="rId69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024B166-4E50-4F0A-9D05-016CAE1C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26360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  <p:sldLayoutId id="2147483825" r:id="rId15"/>
    <p:sldLayoutId id="2147483826" r:id="rId16"/>
    <p:sldLayoutId id="2147483827" r:id="rId17"/>
    <p:sldLayoutId id="2147483828" r:id="rId18"/>
    <p:sldLayoutId id="2147483829" r:id="rId19"/>
    <p:sldLayoutId id="2147483830" r:id="rId20"/>
    <p:sldLayoutId id="2147483831" r:id="rId21"/>
    <p:sldLayoutId id="2147483832" r:id="rId22"/>
    <p:sldLayoutId id="2147483833" r:id="rId23"/>
    <p:sldLayoutId id="2147483834" r:id="rId24"/>
    <p:sldLayoutId id="2147483835" r:id="rId25"/>
    <p:sldLayoutId id="2147483836" r:id="rId26"/>
    <p:sldLayoutId id="2147483837" r:id="rId27"/>
    <p:sldLayoutId id="2147483838" r:id="rId28"/>
    <p:sldLayoutId id="2147483839" r:id="rId29"/>
    <p:sldLayoutId id="2147483840" r:id="rId30"/>
    <p:sldLayoutId id="2147483841" r:id="rId31"/>
    <p:sldLayoutId id="2147483842" r:id="rId32"/>
    <p:sldLayoutId id="2147483843" r:id="rId33"/>
    <p:sldLayoutId id="2147483844" r:id="rId34"/>
    <p:sldLayoutId id="2147483845" r:id="rId35"/>
    <p:sldLayoutId id="2147483846" r:id="rId36"/>
    <p:sldLayoutId id="2147483847" r:id="rId37"/>
    <p:sldLayoutId id="2147483848" r:id="rId38"/>
    <p:sldLayoutId id="2147483849" r:id="rId39"/>
    <p:sldLayoutId id="2147483850" r:id="rId40"/>
    <p:sldLayoutId id="2147483851" r:id="rId41"/>
    <p:sldLayoutId id="2147483852" r:id="rId42"/>
    <p:sldLayoutId id="2147484079" r:id="rId43"/>
    <p:sldLayoutId id="2147484080" r:id="rId44"/>
    <p:sldLayoutId id="2147484081" r:id="rId45"/>
    <p:sldLayoutId id="2147483856" r:id="rId46"/>
    <p:sldLayoutId id="2147483857" r:id="rId47"/>
    <p:sldLayoutId id="2147483858" r:id="rId48"/>
    <p:sldLayoutId id="2147483859" r:id="rId49"/>
    <p:sldLayoutId id="2147483860" r:id="rId50"/>
    <p:sldLayoutId id="2147483861" r:id="rId51"/>
    <p:sldLayoutId id="2147483862" r:id="rId52"/>
    <p:sldLayoutId id="2147483863" r:id="rId53"/>
    <p:sldLayoutId id="2147483864" r:id="rId54"/>
    <p:sldLayoutId id="2147483865" r:id="rId55"/>
    <p:sldLayoutId id="2147483866" r:id="rId56"/>
    <p:sldLayoutId id="2147483867" r:id="rId57"/>
    <p:sldLayoutId id="2147483868" r:id="rId58"/>
    <p:sldLayoutId id="2147483869" r:id="rId59"/>
    <p:sldLayoutId id="2147483870" r:id="rId60"/>
    <p:sldLayoutId id="2147483871" r:id="rId61"/>
    <p:sldLayoutId id="2147483872" r:id="rId62"/>
    <p:sldLayoutId id="2147483873" r:id="rId63"/>
    <p:sldLayoutId id="2147483874" r:id="rId64"/>
    <p:sldLayoutId id="2147483875" r:id="rId6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4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46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02468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rgbClr val="003764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1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112019-6004-43D7-874B-FE0B0AE56C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45" name="think-cell Slide" r:id="rId66" imgW="592" imgH="595" progId="TCLayout.ActiveDocument.1">
                  <p:embed/>
                </p:oleObj>
              </mc:Choice>
              <mc:Fallback>
                <p:oleObj name="think-cell Slide" r:id="rId66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112019-6004-43D7-874B-FE0B0AE56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950685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  <p:sldLayoutId id="2147483900" r:id="rId13"/>
    <p:sldLayoutId id="2147483901" r:id="rId14"/>
    <p:sldLayoutId id="2147483902" r:id="rId15"/>
    <p:sldLayoutId id="2147483903" r:id="rId16"/>
    <p:sldLayoutId id="2147483904" r:id="rId17"/>
    <p:sldLayoutId id="2147483905" r:id="rId18"/>
    <p:sldLayoutId id="2147483906" r:id="rId19"/>
    <p:sldLayoutId id="2147483907" r:id="rId20"/>
    <p:sldLayoutId id="2147483908" r:id="rId21"/>
    <p:sldLayoutId id="2147483909" r:id="rId22"/>
    <p:sldLayoutId id="2147483910" r:id="rId23"/>
    <p:sldLayoutId id="2147483911" r:id="rId24"/>
    <p:sldLayoutId id="2147483912" r:id="rId25"/>
    <p:sldLayoutId id="2147483913" r:id="rId26"/>
    <p:sldLayoutId id="2147483914" r:id="rId27"/>
    <p:sldLayoutId id="2147483915" r:id="rId28"/>
    <p:sldLayoutId id="2147483916" r:id="rId29"/>
    <p:sldLayoutId id="2147483917" r:id="rId30"/>
    <p:sldLayoutId id="2147483918" r:id="rId31"/>
    <p:sldLayoutId id="2147483919" r:id="rId32"/>
    <p:sldLayoutId id="2147483920" r:id="rId33"/>
    <p:sldLayoutId id="2147483921" r:id="rId34"/>
    <p:sldLayoutId id="2147483922" r:id="rId35"/>
    <p:sldLayoutId id="2147483923" r:id="rId36"/>
    <p:sldLayoutId id="2147483924" r:id="rId37"/>
    <p:sldLayoutId id="2147483925" r:id="rId38"/>
    <p:sldLayoutId id="2147484082" r:id="rId39"/>
    <p:sldLayoutId id="2147484083" r:id="rId40"/>
    <p:sldLayoutId id="2147483928" r:id="rId41"/>
    <p:sldLayoutId id="2147483929" r:id="rId42"/>
    <p:sldLayoutId id="2147483930" r:id="rId43"/>
    <p:sldLayoutId id="2147483931" r:id="rId44"/>
    <p:sldLayoutId id="2147483932" r:id="rId45"/>
    <p:sldLayoutId id="2147483933" r:id="rId46"/>
    <p:sldLayoutId id="2147483934" r:id="rId47"/>
    <p:sldLayoutId id="2147483935" r:id="rId48"/>
    <p:sldLayoutId id="2147483936" r:id="rId49"/>
    <p:sldLayoutId id="2147483937" r:id="rId50"/>
    <p:sldLayoutId id="2147483938" r:id="rId51"/>
    <p:sldLayoutId id="2147483939" r:id="rId52"/>
    <p:sldLayoutId id="2147483940" r:id="rId53"/>
    <p:sldLayoutId id="2147483941" r:id="rId54"/>
    <p:sldLayoutId id="2147483942" r:id="rId55"/>
    <p:sldLayoutId id="2147483943" r:id="rId56"/>
    <p:sldLayoutId id="2147483944" r:id="rId57"/>
    <p:sldLayoutId id="2147483945" r:id="rId58"/>
    <p:sldLayoutId id="2147483946" r:id="rId59"/>
    <p:sldLayoutId id="2147483948" r:id="rId60"/>
    <p:sldLayoutId id="2147483949" r:id="rId61"/>
    <p:sldLayoutId id="2147483950" r:id="rId6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55696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3973" r:id="rId14"/>
    <p:sldLayoutId id="2147483974" r:id="rId15"/>
    <p:sldLayoutId id="2147483975" r:id="rId16"/>
    <p:sldLayoutId id="2147483976" r:id="rId17"/>
    <p:sldLayoutId id="2147483977" r:id="rId18"/>
    <p:sldLayoutId id="2147483978" r:id="rId19"/>
    <p:sldLayoutId id="2147483979" r:id="rId20"/>
    <p:sldLayoutId id="2147483980" r:id="rId21"/>
    <p:sldLayoutId id="2147483981" r:id="rId22"/>
    <p:sldLayoutId id="2147483982" r:id="rId23"/>
    <p:sldLayoutId id="2147483983" r:id="rId24"/>
    <p:sldLayoutId id="2147483984" r:id="rId25"/>
    <p:sldLayoutId id="2147483985" r:id="rId26"/>
    <p:sldLayoutId id="2147483986" r:id="rId27"/>
    <p:sldLayoutId id="2147483987" r:id="rId28"/>
    <p:sldLayoutId id="2147483988" r:id="rId29"/>
    <p:sldLayoutId id="2147483989" r:id="rId30"/>
    <p:sldLayoutId id="2147483990" r:id="rId31"/>
    <p:sldLayoutId id="2147483991" r:id="rId32"/>
    <p:sldLayoutId id="2147483992" r:id="rId33"/>
    <p:sldLayoutId id="2147483993" r:id="rId34"/>
    <p:sldLayoutId id="2147483994" r:id="rId35"/>
    <p:sldLayoutId id="2147483995" r:id="rId36"/>
    <p:sldLayoutId id="2147483996" r:id="rId37"/>
    <p:sldLayoutId id="2147483997" r:id="rId38"/>
    <p:sldLayoutId id="2147483998" r:id="rId39"/>
    <p:sldLayoutId id="2147483999" r:id="rId40"/>
    <p:sldLayoutId id="2147484000" r:id="rId41"/>
    <p:sldLayoutId id="2147484001" r:id="rId42"/>
    <p:sldLayoutId id="2147484002" r:id="rId43"/>
    <p:sldLayoutId id="2147484003" r:id="rId44"/>
    <p:sldLayoutId id="2147484004" r:id="rId45"/>
    <p:sldLayoutId id="2147484005" r:id="rId46"/>
    <p:sldLayoutId id="2147484006" r:id="rId47"/>
    <p:sldLayoutId id="2147484007" r:id="rId48"/>
    <p:sldLayoutId id="2147484008" r:id="rId49"/>
    <p:sldLayoutId id="2147484009" r:id="rId50"/>
    <p:sldLayoutId id="2147484010" r:id="rId51"/>
    <p:sldLayoutId id="2147484011" r:id="rId52"/>
    <p:sldLayoutId id="2147484012" r:id="rId53"/>
    <p:sldLayoutId id="2147484013" r:id="rId54"/>
    <p:sldLayoutId id="2147484014" r:id="rId55"/>
    <p:sldLayoutId id="2147484015" r:id="rId56"/>
    <p:sldLayoutId id="2147484084" r:id="rId57"/>
    <p:sldLayoutId id="2147484017" r:id="rId58"/>
    <p:sldLayoutId id="2147484018" r:id="rId59"/>
    <p:sldLayoutId id="2147484019" r:id="rId60"/>
    <p:sldLayoutId id="2147484020" r:id="rId61"/>
    <p:sldLayoutId id="2147484021" r:id="rId62"/>
    <p:sldLayoutId id="2147484022" r:id="rId6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717635"/>
            <a:ext cx="8291384" cy="3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7737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  <p:sldLayoutId id="2147484094" r:id="rId7"/>
    <p:sldLayoutId id="2147484095" r:id="rId8"/>
    <p:sldLayoutId id="2147484096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1415251" y="6279515"/>
            <a:ext cx="776749" cy="329299"/>
          </a:xfrm>
          <a:prstGeom prst="rect">
            <a:avLst/>
          </a:prstGeom>
          <a:gradFill>
            <a:gsLst>
              <a:gs pos="0">
                <a:srgbClr val="E30613"/>
              </a:gs>
              <a:gs pos="45000">
                <a:srgbClr val="721C58"/>
              </a:gs>
              <a:gs pos="24000">
                <a:srgbClr val="98192C"/>
              </a:gs>
              <a:gs pos="74000">
                <a:srgbClr val="1E9A92"/>
              </a:gs>
              <a:gs pos="100000">
                <a:srgbClr val="223A89">
                  <a:alpha val="99000"/>
                </a:srgbClr>
              </a:gs>
            </a:gsLst>
            <a:lin ang="2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717635"/>
            <a:ext cx="8291384" cy="122738"/>
          </a:xfrm>
          <a:prstGeom prst="rect">
            <a:avLst/>
          </a:prstGeom>
          <a:gradFill>
            <a:gsLst>
              <a:gs pos="0">
                <a:srgbClr val="E30613"/>
              </a:gs>
              <a:gs pos="45000">
                <a:srgbClr val="721C58"/>
              </a:gs>
              <a:gs pos="24000">
                <a:srgbClr val="98192C"/>
              </a:gs>
              <a:gs pos="74000">
                <a:srgbClr val="1E9A92"/>
              </a:gs>
              <a:gs pos="100000">
                <a:srgbClr val="223A89">
                  <a:alpha val="99000"/>
                </a:srgbClr>
              </a:gs>
            </a:gsLst>
            <a:lin ang="2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670" y="90357"/>
            <a:ext cx="1357162" cy="714296"/>
          </a:xfrm>
          <a:prstGeom prst="rect">
            <a:avLst/>
          </a:prstGeom>
        </p:spPr>
      </p:pic>
      <p:sp>
        <p:nvSpPr>
          <p:cNvPr id="3" name="ZoneTexte 2"/>
          <p:cNvSpPr txBox="1"/>
          <p:nvPr userDrawn="1"/>
        </p:nvSpPr>
        <p:spPr>
          <a:xfrm>
            <a:off x="5661829" y="6440511"/>
            <a:ext cx="10748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err="1"/>
              <a:t>Restricted</a:t>
            </a:r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D92B086-1F6D-4FB7-9B9B-8752AC5A24F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562" y="0"/>
            <a:ext cx="1357162" cy="8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461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0" r:id="rId1"/>
    <p:sldLayoutId id="2147484101" r:id="rId2"/>
    <p:sldLayoutId id="2147484102" r:id="rId3"/>
    <p:sldLayoutId id="2147484103" r:id="rId4"/>
    <p:sldLayoutId id="2147484104" r:id="rId5"/>
    <p:sldLayoutId id="2147484105" r:id="rId6"/>
    <p:sldLayoutId id="2147484106" r:id="rId7"/>
    <p:sldLayoutId id="2147484107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projectathon.oots-common-services.eu/query/eb/rest/search?queryId=urn:fdc:oots:eb:ebxml-regrep:queries:evidence-types-by-requirement-and-jurisdiction&amp;country-code=SE&amp;requirement-id=https://sr.oots.tech.europa.eu/requirements/1e0372b7-8343-4560-8f84-adb5eec410d6" TargetMode="External"/><Relationship Id="rId3" Type="http://schemas.openxmlformats.org/officeDocument/2006/relationships/slideLayout" Target="../slideLayouts/slideLayout120.xml"/><Relationship Id="rId7" Type="http://schemas.openxmlformats.org/officeDocument/2006/relationships/hyperlink" Target="https://projectathon.oots-common-services.eu/query/eb/rest/search?queryId=urn:fdc:oots:eb:ebxml-regrep:queries:requirements-by-procedure-and-jurisdiction&amp;procedure-id=V1&amp;country-code=SE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2.bin"/><Relationship Id="rId10" Type="http://schemas.openxmlformats.org/officeDocument/2006/relationships/hyperlink" Target="https://projectathon.oots-common-services.eu/query/dsd/rest/search?queryId=urn:fdc:oots:dsd:ebxml-regrep:queries:dataservices-by-evidencetype-and-jurisdiction&amp;country-code=SE&amp;evidence-type-classification=https://sr.oots.tech.europa.eu/evidencetypeclassifications/EU/d080dc98-46ae-4a00-a5f7-b54da000457a&amp;jurisdiction-admin-l2=SE1&amp;evidence-type-id=fa1fdb16-f383-45cb-9e8c-60efad4b253a&amp;jurisdiction-context-id=fab7e562-1c73-44e5-bcae-12f459822dd7" TargetMode="External"/><Relationship Id="rId4" Type="http://schemas.openxmlformats.org/officeDocument/2006/relationships/notesSlide" Target="../notesSlides/notesSlide9.xml"/><Relationship Id="rId9" Type="http://schemas.openxmlformats.org/officeDocument/2006/relationships/hyperlink" Target="https://projectathon.oots-common-services.eu/query/dsd/rest/search?queryId=urn:fdc:oots:dsd:ebxml-regrep:queries:dataservices-by-evidencetype-and-jurisdiction&amp;country-code=SE&amp;evidence-type-classification=https://sr.oots.tech.europa.eu/evidencetypeclassifications/EU/d080dc98-46ae-4a00-a5f7-b54da000457a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EC-OOTS-SUPPORT@ec.europa.eu" TargetMode="External"/><Relationship Id="rId1" Type="http://schemas.openxmlformats.org/officeDocument/2006/relationships/slideLayout" Target="../slideLayouts/slideLayout5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7" Type="http://schemas.openxmlformats.org/officeDocument/2006/relationships/hyperlink" Target="mailto:EC-OOTS-SUPPORT@ec.europa.eu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7" Type="http://schemas.openxmlformats.org/officeDocument/2006/relationships/hyperlink" Target="mailto:EC-OOTS-SUPPORT@ec.europa.eu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7" Type="http://schemas.openxmlformats.org/officeDocument/2006/relationships/hyperlink" Target="https://eceuropaeu.sharepoint.com/:f:/r/teams/GRP-SDGOOTSImplementersspace/Shared%20Documents/OOTS%20Projectathon%20-%20General%20channel/April%20Projectathon%20Sample%20Test%20Data?csf=1&amp;web=1&amp;e=Ztd3Ea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sr.oots.tech.europa.eu/requirements/1e0372b7-8343-4560-8f84-adb5eec410d6" TargetMode="External"/><Relationship Id="rId3" Type="http://schemas.openxmlformats.org/officeDocument/2006/relationships/slideLayout" Target="../slideLayouts/slideLayout120.xml"/><Relationship Id="rId7" Type="http://schemas.openxmlformats.org/officeDocument/2006/relationships/hyperlink" Target="https://ec.europa.eu/digital-building-blocks/wikis/pages/viewpage.action?pageId=643826198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8.xml"/><Relationship Id="rId9" Type="http://schemas.openxmlformats.org/officeDocument/2006/relationships/hyperlink" Target="https://sr.oots.tech.europa.eu/evidencetypeclassifications/EU/d080dc98-46ae-4a00-a5f7-b54da000457a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125808" y="3030469"/>
            <a:ext cx="7679962" cy="1094522"/>
          </a:xfrm>
        </p:spPr>
        <p:txBody>
          <a:bodyPr anchor="ctr"/>
          <a:lstStyle/>
          <a:p>
            <a:pPr>
              <a:spcBef>
                <a:spcPts val="1800"/>
              </a:spcBef>
            </a:pPr>
            <a:r>
              <a:rPr lang="en-GB" sz="3200">
                <a:ea typeface="Verdana" panose="020B0604030504040204" pitchFamily="34" charset="0"/>
                <a:cs typeface="Verdana" panose="020B0604030504040204" pitchFamily="34" charset="0"/>
              </a:rPr>
              <a:t>OOTS April </a:t>
            </a:r>
            <a:r>
              <a:rPr lang="en-GB" sz="3200" err="1">
                <a:ea typeface="Verdana" panose="020B0604030504040204" pitchFamily="34" charset="0"/>
                <a:cs typeface="Verdana" panose="020B0604030504040204" pitchFamily="34" charset="0"/>
              </a:rPr>
              <a:t>Projectathon</a:t>
            </a:r>
            <a:r>
              <a:rPr lang="en-GB" sz="3200">
                <a:ea typeface="Verdana" panose="020B0604030504040204" pitchFamily="34" charset="0"/>
                <a:cs typeface="Verdana" panose="020B0604030504040204" pitchFamily="34" charset="0"/>
              </a:rPr>
              <a:t> Sample Test Data inf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4"/>
          <p:cNvSpPr txBox="1">
            <a:spLocks/>
          </p:cNvSpPr>
          <p:nvPr/>
        </p:nvSpPr>
        <p:spPr bwMode="auto">
          <a:xfrm>
            <a:off x="1034904" y="5765524"/>
            <a:ext cx="2057646" cy="781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Tx/>
              <a:buNone/>
              <a:defRPr sz="2400" b="1" i="0">
                <a:solidFill>
                  <a:srgbClr val="99CC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G GROW</a:t>
            </a:r>
          </a:p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rectorate-General</a:t>
            </a:r>
          </a:p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Internal Market, Industry, Entrepreneurship and SMEs</a:t>
            </a:r>
          </a:p>
        </p:txBody>
      </p:sp>
      <p:sp>
        <p:nvSpPr>
          <p:cNvPr id="9" name="Content Placeholder 4"/>
          <p:cNvSpPr txBox="1">
            <a:spLocks/>
          </p:cNvSpPr>
          <p:nvPr/>
        </p:nvSpPr>
        <p:spPr bwMode="auto">
          <a:xfrm>
            <a:off x="3092550" y="5765524"/>
            <a:ext cx="2057646" cy="781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Tx/>
              <a:buNone/>
              <a:defRPr sz="2400" b="1" i="0">
                <a:solidFill>
                  <a:srgbClr val="99CC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GIT</a:t>
            </a:r>
          </a:p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rectorate-General</a:t>
            </a:r>
          </a:p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Informatics</a:t>
            </a: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1132428" y="4621056"/>
            <a:ext cx="7673342" cy="2985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1125808" y="5415707"/>
            <a:ext cx="7673342" cy="29858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uropean Commiss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62B17AF-438A-4546-96A5-3368CE7271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4904" y="1079860"/>
            <a:ext cx="2371487" cy="1234857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76082D4-0F44-F978-607D-48AE39A3DC26}"/>
              </a:ext>
            </a:extLst>
          </p:cNvPr>
          <p:cNvSpPr txBox="1">
            <a:spLocks/>
          </p:cNvSpPr>
          <p:nvPr/>
        </p:nvSpPr>
        <p:spPr>
          <a:xfrm>
            <a:off x="1125808" y="3854785"/>
            <a:ext cx="6487104" cy="7150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9911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9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5 -</a:t>
            </a:r>
            <a:br>
              <a:rPr lang="en-IE" sz="3600">
                <a:solidFill>
                  <a:schemeClr val="tx2"/>
                </a:solidFill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Additional DSD conversation – Example CS Queri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199" y="1530410"/>
            <a:ext cx="10375611" cy="505919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b="0">
                <a:solidFill>
                  <a:srgbClr val="000000"/>
                </a:solidFill>
                <a:effectLst/>
                <a:latin typeface="IBMPlexMono,  Courier New"/>
              </a:rPr>
              <a:t>Example Queries </a:t>
            </a:r>
            <a:r>
              <a:rPr lang="en-US" sz="1600">
                <a:solidFill>
                  <a:srgbClr val="000000"/>
                </a:solidFill>
                <a:latin typeface="IBMPlexMono,  Courier New"/>
              </a:rPr>
              <a:t>using country SE: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300">
                <a:solidFill>
                  <a:srgbClr val="000000"/>
                </a:solidFill>
                <a:latin typeface="IBMPlexMono,  Courier New"/>
              </a:rPr>
              <a:t>EB1: </a:t>
            </a:r>
            <a:r>
              <a:rPr lang="en-US" sz="1300" b="0" i="0">
                <a:solidFill>
                  <a:srgbClr val="212121"/>
                </a:solidFill>
                <a:effectLst/>
                <a:latin typeface="Inter"/>
                <a:hlinkClick r:id="rId7"/>
              </a:rPr>
              <a:t>https://projectathon.oots-common-services.eu/query/eb/rest/search?queryId=urn:fdc:oots:eb:ebxml-regrep:queries:requirements-by-procedure-and-jurisdiction&amp;procedure-id=V1&amp;country-code=SE</a:t>
            </a:r>
            <a:endParaRPr lang="en-US" sz="1300" b="0" i="0">
              <a:solidFill>
                <a:srgbClr val="000000"/>
              </a:solidFill>
              <a:effectLst/>
              <a:latin typeface="IBMPlexMono,  Courier New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300">
                <a:solidFill>
                  <a:srgbClr val="000000"/>
                </a:solidFill>
                <a:latin typeface="IBMPlexMono,  Courier New"/>
              </a:rPr>
              <a:t>EB2: </a:t>
            </a:r>
            <a:r>
              <a:rPr lang="en-US" sz="1300" b="0" i="0">
                <a:solidFill>
                  <a:srgbClr val="212121"/>
                </a:solidFill>
                <a:effectLst/>
                <a:latin typeface="Inter"/>
                <a:hlinkClick r:id="rId8"/>
              </a:rPr>
              <a:t>https://projectathon.oots-common-services.eu/query/eb/rest/search?queryId=urn:fdc:oots:eb:ebxml-regrep:queries:evidence-types-by-requirement-and-jurisdiction&amp;country-code=SE&amp;requirement-id=https://sr.oots.tech.europa.eu/requirements/1e0372b7-8343-4560-8f84-adb5eec410d6</a:t>
            </a:r>
            <a:endParaRPr lang="en-US" sz="1300" i="0">
              <a:solidFill>
                <a:srgbClr val="000000"/>
              </a:solidFill>
              <a:latin typeface="IBMPlexMono,  Courier New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300" b="0" i="0">
                <a:solidFill>
                  <a:srgbClr val="212121"/>
                </a:solidFill>
                <a:effectLst/>
                <a:latin typeface="Inter"/>
              </a:rPr>
              <a:t>DSD Dialogue 1: </a:t>
            </a:r>
            <a:r>
              <a:rPr lang="en-US" sz="1300" b="0" i="0">
                <a:solidFill>
                  <a:srgbClr val="212121"/>
                </a:solidFill>
                <a:effectLst/>
                <a:latin typeface="Inter"/>
                <a:hlinkClick r:id="rId9"/>
              </a:rPr>
              <a:t>https://projectathon.oots-common-services.eu/query/dsd/rest/search?queryId=urn:fdc:oots:dsd:ebxml-regrep:queries:dataservices-by-evidencetype-and-jurisdiction&amp;country-code=SE&amp;evidence-type-classification=https://sr.oots.tech.europa.eu/evidencetypeclassifications/EU/d080dc98-46ae-4a00-a5f7-b54da000457a</a:t>
            </a:r>
            <a:endParaRPr lang="en-US" sz="1300" b="0" i="0">
              <a:solidFill>
                <a:srgbClr val="212121"/>
              </a:solidFill>
              <a:effectLst/>
              <a:latin typeface="Inter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300">
                <a:solidFill>
                  <a:srgbClr val="212121"/>
                </a:solidFill>
                <a:latin typeface="Inter"/>
              </a:rPr>
              <a:t>DSD Dialogue 2: </a:t>
            </a:r>
            <a:r>
              <a:rPr lang="en-US" sz="1300" b="0" i="0">
                <a:solidFill>
                  <a:srgbClr val="212121"/>
                </a:solidFill>
                <a:effectLst/>
                <a:latin typeface="Inter"/>
                <a:hlinkClick r:id="rId10"/>
              </a:rPr>
              <a:t>https://projectathon.oots-common-services.eu/query/dsd/rest/search?queryId=urn:fdc:oots:dsd:ebxml-regrep:queries:dataservices-by-evidencetype-and-jurisdiction&amp;country-code=SE&amp;evidence-type-classification=https://sr.oots.tech.europa.eu/evidencetypeclassifications/EU/d080dc98-46ae-4a00-a5f7-b54da000457a&amp;jurisdiction-admin-l2=SE1&amp;evidence-type-id=fa1fdb16-f383-45cb-9e8c-60efad4b253a&amp;jurisdiction-context-id=fab7e562-1c73-44e5-bcae-12f459822dd7</a:t>
            </a:r>
            <a:endParaRPr lang="en-US" sz="1300" b="0" i="0">
              <a:solidFill>
                <a:srgbClr val="212121"/>
              </a:solidFill>
              <a:effectLst/>
              <a:latin typeface="Inter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200" b="0" i="0">
              <a:solidFill>
                <a:srgbClr val="212121"/>
              </a:solidFill>
              <a:effectLst/>
              <a:latin typeface="Inter"/>
            </a:endParaRPr>
          </a:p>
        </p:txBody>
      </p:sp>
    </p:spTree>
    <p:extLst>
      <p:ext uri="{BB962C8B-B14F-4D97-AF65-F5344CB8AC3E}">
        <p14:creationId xmlns:p14="http://schemas.microsoft.com/office/powerpoint/2010/main" val="9177970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4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6 -</a:t>
            </a:r>
            <a:br>
              <a:rPr lang="en-IE" sz="3600"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Evidence request with preview + reauthentication</a:t>
            </a:r>
            <a:endParaRPr lang="en-US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we 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used the same dataset as TC01, but</a:t>
            </a:r>
            <a:endParaRPr lang="en-US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switch on the "</a:t>
            </a:r>
            <a:r>
              <a:rPr lang="en-US" sz="2200" err="1">
                <a:solidFill>
                  <a:srgbClr val="000000"/>
                </a:solidFill>
                <a:latin typeface="EC Square Sans Pro"/>
              </a:rPr>
              <a:t>PossibilityForPreview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" flag from "false" to "true"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use a different identity that triggers reauthentication at EP side</a:t>
            </a:r>
            <a:endParaRPr lang="en-US" sz="2200">
              <a:solidFill>
                <a:srgbClr val="000000"/>
              </a:solidFill>
            </a:endParaRPr>
          </a:p>
          <a:p>
            <a:pPr lvl="3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>
                <a:latin typeface="EC Square Sans Pro"/>
              </a:rPr>
              <a:t>Update &lt;</a:t>
            </a:r>
            <a:r>
              <a:rPr lang="en-US" sz="1600" err="1">
                <a:latin typeface="EC Square Sans Pro"/>
              </a:rPr>
              <a:t>sdg:GivenName</a:t>
            </a:r>
            <a:r>
              <a:rPr lang="en-US" sz="1600">
                <a:latin typeface="EC Square Sans Pro"/>
              </a:rPr>
              <a:t>&gt; from "Jack" to "Jonas" 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>
                <a:latin typeface="EC Square Sans Pro"/>
              </a:rPr>
              <a:t>Update &lt;</a:t>
            </a:r>
            <a:r>
              <a:rPr lang="en-US" sz="1600" err="1">
                <a:latin typeface="EC Square Sans Pro"/>
              </a:rPr>
              <a:t>sdg:Identifier</a:t>
            </a:r>
            <a:r>
              <a:rPr lang="en-US" sz="1600">
                <a:latin typeface="EC Square Sans Pro"/>
              </a:rPr>
              <a:t>&gt; from DE/DE/12345678</a:t>
            </a:r>
            <a:r>
              <a:rPr lang="en-US" sz="1600" u="sng">
                <a:latin typeface="EC Square Sans Pro"/>
              </a:rPr>
              <a:t>9</a:t>
            </a:r>
            <a:r>
              <a:rPr lang="en-US" sz="1600">
                <a:latin typeface="EC Square Sans Pro"/>
              </a:rPr>
              <a:t> to DE/DE/12345678</a:t>
            </a:r>
            <a:r>
              <a:rPr lang="en-US" sz="1600" u="sng">
                <a:latin typeface="EC Square Sans Pro"/>
              </a:rPr>
              <a:t>7</a:t>
            </a:r>
            <a:endParaRPr lang="en-US"/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Unlike TC01 where there is no preview, in TC06, the Evidence Provider will first respond with </a:t>
            </a:r>
            <a:r>
              <a:rPr lang="en-US" sz="2200">
                <a:latin typeface="EC Square Sans Pro"/>
              </a:rPr>
              <a:t>TC06_Response_1, containing the Preview link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Then the Evidence Requester can make a new Evidence Request </a:t>
            </a:r>
            <a:r>
              <a:rPr lang="en-US" sz="2200">
                <a:latin typeface="EC Square Sans Pro"/>
              </a:rPr>
              <a:t>TC06_Request_2 and the Evidence Provider can respond with the actual evidence in TC06_Response_2 (after the user successfully completes/accepts the preview)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2488471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79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7 -</a:t>
            </a:r>
            <a:br>
              <a:rPr lang="en-IE" sz="3600">
                <a:latin typeface="EC Square Sans Pro"/>
              </a:rPr>
            </a:br>
            <a:r>
              <a:rPr lang="en-US" sz="3600">
                <a:solidFill>
                  <a:schemeClr val="tx2"/>
                </a:solidFill>
                <a:latin typeface="EC Square Sans Pro"/>
              </a:rPr>
              <a:t>Preview and reauthentication at two different EP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we used</a:t>
            </a:r>
            <a:endParaRPr lang="en-US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solidFill>
                  <a:srgbClr val="000000"/>
                </a:solidFill>
                <a:latin typeface="EC Square Sans Pro"/>
              </a:rPr>
              <a:t>Use 2 requirements for the procedure, each leading to a different EP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latin typeface="EC Square Sans Pro"/>
              </a:rPr>
              <a:t>E.g. apply for a master study and require both a bachelor diploma and a secondary school diploma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 use the same identity as in TC01 to keep things simple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2841503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4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8 -</a:t>
            </a:r>
            <a:br>
              <a:rPr lang="en-IE" sz="3600"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Evidence request with preview rejection by user + reauthentication</a:t>
            </a:r>
            <a:endParaRPr lang="en-US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648943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we 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used the same dataset as TC06, but</a:t>
            </a:r>
            <a:endParaRPr lang="en-US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The</a:t>
            </a:r>
            <a:r>
              <a:rPr lang="en-US" sz="2200">
                <a:latin typeface="EC Square Sans Pro"/>
              </a:rPr>
              <a:t> user will reject the evidence during the preview at Evidence Provider side</a:t>
            </a:r>
            <a:endParaRPr lang="en-US" sz="2200"/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Resultingly, the </a:t>
            </a:r>
            <a:r>
              <a:rPr lang="en-US" sz="2200">
                <a:latin typeface="EC Square Sans Pro"/>
              </a:rPr>
              <a:t>TC08_Response_2 message is an Evidence Response, with an empty registry object list (instead of the actual evidence like in TC06)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2929961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88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9 -</a:t>
            </a:r>
            <a:br>
              <a:rPr lang="en-IE" sz="3600"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Evidence request with </a:t>
            </a:r>
            <a:r>
              <a:rPr lang="en-US" sz="3600">
                <a:solidFill>
                  <a:schemeClr val="tx2"/>
                </a:solidFill>
                <a:latin typeface="EC Square Sans Pro"/>
              </a:rPr>
              <a:t>preview error (closure or timeout)</a:t>
            </a:r>
            <a:r>
              <a:rPr lang="en-IE" sz="3600">
                <a:solidFill>
                  <a:schemeClr val="tx2"/>
                </a:solidFill>
                <a:latin typeface="EC Square Sans Pro"/>
              </a:rPr>
              <a:t> + reauthentication</a:t>
            </a:r>
            <a:endParaRPr lang="en-US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648943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we 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used the same dataset as TC06, but</a:t>
            </a:r>
            <a:endParaRPr lang="en-US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The</a:t>
            </a:r>
            <a:r>
              <a:rPr lang="en-US" sz="2200">
                <a:latin typeface="EC Square Sans Pro"/>
              </a:rPr>
              <a:t> user stays idle in the preview space at Evidence Provider side, resulting in a timeout without stating whether the evidence can be used</a:t>
            </a:r>
            <a:endParaRPr lang="en-US" sz="2200"/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Resultingly, the </a:t>
            </a:r>
            <a:r>
              <a:rPr lang="en-US" sz="2200">
                <a:latin typeface="EC Square Sans Pro"/>
              </a:rPr>
              <a:t>TC09_Response_2 message is an Evidence Response, with a </a:t>
            </a:r>
            <a:r>
              <a:rPr lang="en-US" sz="2200" err="1">
                <a:latin typeface="EC Square Sans Pro"/>
              </a:rPr>
              <a:t>QueryResponseError</a:t>
            </a:r>
            <a:r>
              <a:rPr lang="en-US" sz="2200">
                <a:latin typeface="EC Square Sans Pro"/>
              </a:rPr>
              <a:t> response with a </a:t>
            </a:r>
            <a:r>
              <a:rPr lang="en-US" sz="2200" err="1">
                <a:latin typeface="EC Square Sans Pro"/>
              </a:rPr>
              <a:t>TimeoutExceptionType</a:t>
            </a:r>
            <a:r>
              <a:rPr lang="en-US" sz="2200">
                <a:latin typeface="EC Square Sans Pro"/>
              </a:rPr>
              <a:t> (instead of the actual evidence like in TC06)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8024497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3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10 -</a:t>
            </a:r>
            <a:br>
              <a:rPr lang="en-IE" sz="3600">
                <a:latin typeface="EC Square Sans Pro"/>
              </a:rPr>
            </a:br>
            <a:r>
              <a:rPr lang="en-US" sz="3600">
                <a:solidFill>
                  <a:schemeClr val="tx2"/>
                </a:solidFill>
                <a:latin typeface="EC Square Sans Pro"/>
              </a:rPr>
              <a:t>Preview including human readable transformatio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we proposed to create a different data set (including EB and DSD data), that leads to an XML evidence instead of a PDF evidence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We provided a sample XML evidence and a related XSL to transform that XML to HTML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We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 proposed to use a same identity as in TC01 to keep things simple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This dataset will be prepared based on the Evidence Providers that indicate that they can apply a human readable transformation to an XML evidence in the preview area</a:t>
            </a:r>
          </a:p>
          <a:p>
            <a:pPr marL="914400" lvl="2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800">
                <a:latin typeface="EC Square Sans Pro"/>
              </a:rPr>
              <a:t>-&gt; As no Evidence Provider indicated that their Preview Space can perform the transformation and/or display of this type of evidence, the data set is not configured or shared</a:t>
            </a:r>
            <a:endParaRPr lang="en-US" sz="1800"/>
          </a:p>
          <a:p>
            <a:pPr marL="914400" lvl="2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800">
                <a:latin typeface="EC Square Sans Pro"/>
              </a:rPr>
              <a:t>-&gt; In case this would anyway be needed, let us know and we will configure and share the data set</a:t>
            </a:r>
          </a:p>
        </p:txBody>
      </p:sp>
    </p:spTree>
    <p:extLst>
      <p:ext uri="{BB962C8B-B14F-4D97-AF65-F5344CB8AC3E}">
        <p14:creationId xmlns:p14="http://schemas.microsoft.com/office/powerpoint/2010/main" val="24844466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EC Square Sans Pro"/>
              </a:rPr>
              <a:t>Further questions?</a:t>
            </a:r>
            <a:endParaRPr lang="en-US" sz="10000">
              <a:latin typeface="EC Square Sans Pro"/>
            </a:endParaRPr>
          </a:p>
          <a:p>
            <a:endParaRPr lang="en-US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2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EC Square Sans Pro"/>
              </a:rPr>
              <a:t>We’re here for you at</a:t>
            </a:r>
          </a:p>
          <a:p>
            <a:r>
              <a:rPr lang="en-US">
                <a:latin typeface="EC Square Sans Pro"/>
                <a:hlinkClick r:id="rId2"/>
              </a:rPr>
              <a:t>EC-OOTS-SUPPORT@ec.europa.eu</a:t>
            </a:r>
          </a:p>
        </p:txBody>
      </p:sp>
    </p:spTree>
    <p:extLst>
      <p:ext uri="{BB962C8B-B14F-4D97-AF65-F5344CB8AC3E}">
        <p14:creationId xmlns:p14="http://schemas.microsoft.com/office/powerpoint/2010/main" val="1331046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1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 err="1">
                <a:solidFill>
                  <a:schemeClr val="tx2"/>
                </a:solidFill>
                <a:latin typeface="EC Square Sans Pro"/>
              </a:rPr>
              <a:t>Projectathon</a:t>
            </a:r>
            <a:r>
              <a:rPr lang="en-IE" sz="3600">
                <a:solidFill>
                  <a:schemeClr val="tx2"/>
                </a:solidFill>
                <a:latin typeface="EC Square Sans Pro"/>
              </a:rPr>
              <a:t> preparation: Access to Common Services management GUI</a:t>
            </a:r>
            <a:endParaRPr lang="en-US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403410"/>
            <a:ext cx="10239194" cy="5248155"/>
          </a:xfrm>
          <a:prstGeom prst="rect">
            <a:avLst/>
          </a:prstGeom>
        </p:spPr>
        <p:txBody>
          <a:bodyPr vert="horz" lIns="0" tIns="0" rIns="0" bIns="0" rtlCol="0" anchor="t">
            <a:normAutofit lnSpcReduction="10000"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600">
                <a:solidFill>
                  <a:srgbClr val="000000"/>
                </a:solidFill>
                <a:latin typeface="EC Square Sans Pro"/>
              </a:rPr>
              <a:t>Preparatory Test Case PTC19 is about getting access to the Common Services management GUI</a:t>
            </a:r>
            <a:endParaRPr lang="en-US" sz="2600">
              <a:solidFill>
                <a:srgbClr val="000000"/>
              </a:solidFill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600">
                <a:solidFill>
                  <a:srgbClr val="000000"/>
                </a:solidFill>
                <a:latin typeface="EC Square Sans Pro"/>
              </a:rPr>
              <a:t>The Common Service team is now making available these connections</a:t>
            </a:r>
            <a:endParaRPr lang="en-IE" sz="2600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600">
                <a:solidFill>
                  <a:srgbClr val="000000"/>
                </a:solidFill>
                <a:latin typeface="EC Square Sans Pro"/>
              </a:rPr>
              <a:t>Please note that authentication is based on the ACCEPTANCE instance of </a:t>
            </a:r>
            <a:r>
              <a:rPr lang="en-IE" sz="2600" err="1">
                <a:solidFill>
                  <a:srgbClr val="000000"/>
                </a:solidFill>
                <a:latin typeface="EC Square Sans Pro"/>
              </a:rPr>
              <a:t>EULogin</a:t>
            </a:r>
            <a:endParaRPr lang="en-IE" sz="26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200">
                <a:solidFill>
                  <a:srgbClr val="000000"/>
                </a:solidFill>
                <a:latin typeface="EC Square Sans Pro"/>
              </a:rPr>
              <a:t>You must log in with your ACCEPTANCE </a:t>
            </a:r>
            <a:r>
              <a:rPr lang="en-IE" sz="2200" err="1">
                <a:solidFill>
                  <a:srgbClr val="000000"/>
                </a:solidFill>
                <a:latin typeface="EC Square Sans Pro"/>
              </a:rPr>
              <a:t>EULogin</a:t>
            </a:r>
            <a:r>
              <a:rPr lang="en-IE" sz="2200">
                <a:solidFill>
                  <a:srgbClr val="000000"/>
                </a:solidFill>
                <a:latin typeface="EC Square Sans Pro"/>
              </a:rPr>
              <a:t> username</a:t>
            </a:r>
            <a:endParaRPr lang="en-IE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200">
                <a:solidFill>
                  <a:srgbClr val="000000"/>
                </a:solidFill>
                <a:latin typeface="EC Square Sans Pro"/>
              </a:rPr>
              <a:t>If you already had one, but this one was inactive, you will get a request to perform '</a:t>
            </a:r>
            <a:r>
              <a:rPr lang="en-IE" sz="2200">
                <a:latin typeface="EC Square Sans Pro"/>
              </a:rPr>
              <a:t>ACCEPTANCE EU Login Password Initialisation</a:t>
            </a:r>
            <a:r>
              <a:rPr lang="en-IE" sz="2200">
                <a:solidFill>
                  <a:srgbClr val="000000"/>
                </a:solidFill>
                <a:latin typeface="EC Square Sans Pro"/>
              </a:rPr>
              <a:t>'</a:t>
            </a:r>
            <a:endParaRPr lang="en-IE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200">
                <a:solidFill>
                  <a:srgbClr val="000000"/>
                </a:solidFill>
                <a:latin typeface="EC Square Sans Pro"/>
              </a:rPr>
              <a:t>If you did not yet have one, you can register via </a:t>
            </a:r>
            <a:r>
              <a:rPr lang="en-IE" sz="2200">
                <a:latin typeface="EC Square Sans Pro"/>
              </a:rPr>
              <a:t>https://ecas.acceptance.ec.europa.eu/cas/login</a:t>
            </a:r>
            <a:endParaRPr lang="en-IE" sz="220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200">
                <a:solidFill>
                  <a:srgbClr val="000000"/>
                </a:solidFill>
                <a:latin typeface="EC Square Sans Pro"/>
              </a:rPr>
              <a:t>After you select a new password you will get access to the CS GUI</a:t>
            </a:r>
            <a:endParaRPr lang="en-IE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200">
                <a:solidFill>
                  <a:srgbClr val="000000"/>
                </a:solidFill>
                <a:latin typeface="EC Square Sans Pro"/>
              </a:rPr>
              <a:t>In case of any issue, </a:t>
            </a:r>
            <a:r>
              <a:rPr lang="en-IE" sz="2200">
                <a:solidFill>
                  <a:srgbClr val="000000"/>
                </a:solidFill>
                <a:latin typeface="EC Square Sans Pro"/>
                <a:hlinkClick r:id="rId7"/>
              </a:rPr>
              <a:t>contact us</a:t>
            </a:r>
            <a:endParaRPr lang="en-IE" sz="2200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IE" sz="2600">
              <a:solidFill>
                <a:srgbClr val="000000"/>
              </a:solidFill>
            </a:endParaRPr>
          </a:p>
          <a:p>
            <a:pPr marL="1371600" lvl="3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IE" sz="20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42516442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6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 err="1">
                <a:solidFill>
                  <a:schemeClr val="tx2"/>
                </a:solidFill>
                <a:latin typeface="EC Square Sans Pro"/>
              </a:rPr>
              <a:t>Projectathon</a:t>
            </a:r>
            <a:r>
              <a:rPr lang="en-IE" sz="3600">
                <a:solidFill>
                  <a:schemeClr val="tx2"/>
                </a:solidFill>
                <a:latin typeface="EC Square Sans Pro"/>
              </a:rPr>
              <a:t> preparation: Connectivity testing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403410"/>
            <a:ext cx="10239194" cy="52481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600">
                <a:solidFill>
                  <a:srgbClr val="000000"/>
                </a:solidFill>
                <a:latin typeface="EC Square Sans Pro"/>
              </a:rPr>
              <a:t>Are there any open questions related to Connectivity testing?</a:t>
            </a:r>
            <a:endParaRPr lang="en-US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600">
                <a:solidFill>
                  <a:srgbClr val="000000"/>
                </a:solidFill>
                <a:latin typeface="EC Square Sans Pro"/>
              </a:rPr>
              <a:t>Is everyone connected to the public internet with a stable IP?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600">
                <a:solidFill>
                  <a:srgbClr val="000000"/>
                </a:solidFill>
                <a:latin typeface="EC Square Sans Pro"/>
              </a:rPr>
              <a:t>Is everyone that is supposed to receive incoming connections available to receive all connections or does anyone need to whitelist other IPs from other test participants?</a:t>
            </a:r>
            <a:endParaRPr lang="en-IE" sz="2600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600">
                <a:solidFill>
                  <a:srgbClr val="000000"/>
                </a:solidFill>
                <a:latin typeface="EC Square Sans Pro"/>
              </a:rPr>
              <a:t>In case you are not using the suggested C3/C4 identifiers (</a:t>
            </a:r>
            <a:r>
              <a:rPr lang="en-US" sz="2600">
                <a:latin typeface="EC Square Sans Pro"/>
              </a:rPr>
              <a:t>AP_XX_01 for C3 and BR_XX_01 </a:t>
            </a:r>
            <a:r>
              <a:rPr lang="en-US" sz="2600">
                <a:solidFill>
                  <a:srgbClr val="000000"/>
                </a:solidFill>
                <a:latin typeface="EC Square Sans Pro"/>
              </a:rPr>
              <a:t>for C4</a:t>
            </a:r>
            <a:r>
              <a:rPr lang="en-IE" sz="2600">
                <a:solidFill>
                  <a:srgbClr val="000000"/>
                </a:solidFill>
                <a:latin typeface="EC Square Sans Pro"/>
              </a:rPr>
              <a:t>), we will </a:t>
            </a:r>
            <a:r>
              <a:rPr lang="en-US" sz="2600">
                <a:latin typeface="EC Square Sans Pro"/>
              </a:rPr>
              <a:t>update (or have already done so) the Common Service data for those participants that used another value.</a:t>
            </a:r>
            <a:endParaRPr lang="en-IE" sz="260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In case you still make any changes or in case you detect that the values you are using are not in line with the Common Service data, please </a:t>
            </a:r>
            <a:r>
              <a:rPr lang="en-US" sz="2200">
                <a:solidFill>
                  <a:srgbClr val="000000"/>
                </a:solidFill>
                <a:latin typeface="EC Square Sans Pro"/>
                <a:hlinkClick r:id="rId7"/>
              </a:rPr>
              <a:t>let us know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marL="1371600" lvl="3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IE" sz="20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766529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0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sets - statu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403410"/>
            <a:ext cx="10239194" cy="52481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This dataset is available in the </a:t>
            </a:r>
            <a:r>
              <a:rPr lang="en-US" sz="2200">
                <a:solidFill>
                  <a:srgbClr val="000000"/>
                </a:solidFill>
                <a:latin typeface="EC Square Sans Pro"/>
                <a:hlinkClick r:id="rId7"/>
              </a:rPr>
              <a:t>MS Teams Projectathon channel</a:t>
            </a:r>
            <a:endParaRPr lang="en-US" sz="2200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Those MSs that want to go further and create custom datasets can do so</a:t>
            </a:r>
            <a:endParaRPr lang="en-US"/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They can then first focus on getting the baseline tests working during the </a:t>
            </a:r>
            <a:r>
              <a:rPr lang="en-US" sz="1800" err="1">
                <a:latin typeface="EC Square Sans Pro"/>
              </a:rPr>
              <a:t>Projectathon</a:t>
            </a:r>
            <a:endParaRPr lang="en-US" sz="1800"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In case there is time left and other test partners can support these additional datasets, more advanced testing can be conducted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If someone wants to make use of this option, please inform and involve us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In case there is any additional data or any other related </a:t>
            </a:r>
            <a:r>
              <a:rPr lang="en-US" sz="2200" err="1">
                <a:latin typeface="EC Square Sans Pro"/>
              </a:rPr>
              <a:t>Projectathon</a:t>
            </a:r>
            <a:r>
              <a:rPr lang="en-US" sz="2200">
                <a:latin typeface="EC Square Sans Pro"/>
              </a:rPr>
              <a:t> topic to be discussed, please let us know how we can help you!</a:t>
            </a:r>
            <a:endParaRPr lang="en-US" sz="2200"/>
          </a:p>
        </p:txBody>
      </p:sp>
    </p:spTree>
    <p:extLst>
      <p:ext uri="{BB962C8B-B14F-4D97-AF65-F5344CB8AC3E}">
        <p14:creationId xmlns:p14="http://schemas.microsoft.com/office/powerpoint/2010/main" val="31226502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45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baseline TC01 -</a:t>
            </a:r>
            <a:br>
              <a:rPr lang="en-IE" sz="3600"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Basic evidence request without preview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 defined a TC01 baseline that will be re-used as much a possible across the Test Cases</a:t>
            </a:r>
            <a:endParaRPr lang="en-US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It is based on a pre-defined Identity that all Evidence Requesters and Evidence Providers need to support in the April </a:t>
            </a:r>
            <a:r>
              <a:rPr lang="en-US" sz="2200" err="1">
                <a:latin typeface="EC Square Sans Pro"/>
              </a:rPr>
              <a:t>Projectathon</a:t>
            </a:r>
            <a:endParaRPr lang="en-US" err="1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It is based on Common Service data (EB and DSD data) that is pre-configured for all participants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The sample covers both an Evidence Request and Evidence Response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The metadata of the Evidence is available in the Evidence Response message, you can choose a PDF file that you will attach as actual evidence (e.g. a PDF file with a flag of your country)</a:t>
            </a:r>
          </a:p>
        </p:txBody>
      </p:sp>
    </p:spTree>
    <p:extLst>
      <p:ext uri="{BB962C8B-B14F-4D97-AF65-F5344CB8AC3E}">
        <p14:creationId xmlns:p14="http://schemas.microsoft.com/office/powerpoint/2010/main" val="30196524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0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2 -</a:t>
            </a:r>
            <a:br>
              <a:rPr lang="en-IE" sz="3600">
                <a:solidFill>
                  <a:schemeClr val="tx2"/>
                </a:solidFill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Basic evidence request without evidence match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 will use the TC01 baseline and only update the Identity data in the request to ensure there is no evidence match at EP side.</a:t>
            </a:r>
            <a:endParaRPr lang="en-US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Update &lt;</a:t>
            </a:r>
            <a:r>
              <a:rPr lang="en-US" sz="2200" err="1">
                <a:latin typeface="EC Square Sans Pro"/>
              </a:rPr>
              <a:t>sdg:GivenName</a:t>
            </a:r>
            <a:r>
              <a:rPr lang="en-US" sz="2200">
                <a:latin typeface="EC Square Sans Pro"/>
              </a:rPr>
              <a:t>&gt; from "Jack" to "Jane" </a:t>
            </a:r>
            <a:endParaRPr lang="en-US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Update &lt;</a:t>
            </a:r>
            <a:r>
              <a:rPr lang="en-US" sz="2200" err="1">
                <a:latin typeface="EC Square Sans Pro"/>
              </a:rPr>
              <a:t>sdg:Identifier</a:t>
            </a:r>
            <a:r>
              <a:rPr lang="en-US" sz="2200">
                <a:latin typeface="EC Square Sans Pro"/>
              </a:rPr>
              <a:t>&gt; from DE/DE/12345678</a:t>
            </a:r>
            <a:r>
              <a:rPr lang="en-US" sz="2200" u="sng">
                <a:latin typeface="EC Square Sans Pro"/>
              </a:rPr>
              <a:t>9</a:t>
            </a:r>
            <a:r>
              <a:rPr lang="en-US" sz="2200">
                <a:latin typeface="EC Square Sans Pro"/>
              </a:rPr>
              <a:t> to DE/DE/12345678</a:t>
            </a:r>
            <a:r>
              <a:rPr lang="en-US" sz="2200" u="sng">
                <a:latin typeface="EC Square Sans Pro"/>
              </a:rPr>
              <a:t>8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2200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We also provide you with a sample Evidence Response (with an empty registry object list)</a:t>
            </a:r>
          </a:p>
        </p:txBody>
      </p:sp>
    </p:spTree>
    <p:extLst>
      <p:ext uri="{BB962C8B-B14F-4D97-AF65-F5344CB8AC3E}">
        <p14:creationId xmlns:p14="http://schemas.microsoft.com/office/powerpoint/2010/main" val="38151507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5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response variation for TC03 -</a:t>
            </a:r>
            <a:br>
              <a:rPr lang="en-IE" sz="3600">
                <a:latin typeface="EC Square Sans Pro"/>
              </a:rPr>
            </a:br>
            <a:r>
              <a:rPr lang="en-US" sz="3600">
                <a:solidFill>
                  <a:schemeClr val="tx2"/>
                </a:solidFill>
                <a:latin typeface="EC Square Sans Pro"/>
              </a:rPr>
              <a:t>Evidence request error flow - Base Registry error</a:t>
            </a:r>
            <a:endParaRPr lang="en-IE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 will use the TC01 baseline and keep the same data for the Evidence Request</a:t>
            </a:r>
            <a:endParaRPr lang="en-US" sz="2200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However, the Evidence Response is different, due to the Base Registry error, so we will provide you with 2 alternative sample Evidence Responses containing an exception</a:t>
            </a:r>
            <a:endParaRPr lang="en-US"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TC03_Response_alt1_timeout_in_connection_to_base_registry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TC03_Response_alt2_error_in_connection_to_base_registry</a:t>
            </a:r>
          </a:p>
        </p:txBody>
      </p:sp>
    </p:spTree>
    <p:extLst>
      <p:ext uri="{BB962C8B-B14F-4D97-AF65-F5344CB8AC3E}">
        <p14:creationId xmlns:p14="http://schemas.microsoft.com/office/powerpoint/2010/main" val="30373370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0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response variation for TC04 -</a:t>
            </a:r>
            <a:br>
              <a:rPr lang="en-IE" sz="3600">
                <a:latin typeface="EC Square Sans Pro"/>
              </a:rPr>
            </a:br>
            <a:r>
              <a:rPr lang="en-US" sz="3600">
                <a:solidFill>
                  <a:schemeClr val="tx2"/>
                </a:solidFill>
                <a:latin typeface="EC Square Sans Pro"/>
              </a:rPr>
              <a:t>Evidence request error flow due to Access Point error</a:t>
            </a:r>
            <a:endParaRPr lang="en-IE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 will use the TC01 baseline and keep the same data for the Evidence Request</a:t>
            </a:r>
            <a:endParaRPr lang="en-US" sz="2200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However, there will be NO Evidence Response as the Access Point at Evidence Provider side is down</a:t>
            </a:r>
            <a:endParaRPr lang="en-US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Resultingly the Access Point at Procedure Portal side generates an </a:t>
            </a:r>
            <a:r>
              <a:rPr lang="en-US" sz="2200" err="1">
                <a:latin typeface="EC Square Sans Pro"/>
              </a:rPr>
              <a:t>eDelivery</a:t>
            </a:r>
            <a:r>
              <a:rPr lang="en-US" sz="2200">
                <a:latin typeface="EC Square Sans Pro"/>
              </a:rPr>
              <a:t> error (from C2 to C1) to be sent to the Procedure Portal</a:t>
            </a:r>
          </a:p>
          <a:p>
            <a:pPr marL="45720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2200"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8702164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4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5 -</a:t>
            </a:r>
            <a:br>
              <a:rPr lang="en-IE" sz="3600">
                <a:solidFill>
                  <a:schemeClr val="tx2"/>
                </a:solidFill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Additional DSD conversatio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199" y="1530410"/>
            <a:ext cx="10415611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 propose to use the DSD conversation variation presented in slides 51 to 53 in the presentation attached to the </a:t>
            </a:r>
            <a:r>
              <a:rPr lang="en-US" sz="2200">
                <a:solidFill>
                  <a:srgbClr val="000000"/>
                </a:solidFill>
                <a:latin typeface="EC Square Sans Pro"/>
                <a:hlinkClick r:id="rId7"/>
              </a:rPr>
              <a:t>kick-off meeting</a:t>
            </a:r>
            <a:endParaRPr lang="en-US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The following values can now be used for the DSD Conversation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rgbClr val="000000"/>
                </a:solidFill>
                <a:latin typeface="EC Square Sans Pro"/>
              </a:rPr>
              <a:t>Procedure Id: V1 (Registering a change of Address)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rgbClr val="000000"/>
                </a:solidFill>
                <a:latin typeface="EC Square Sans Pro"/>
              </a:rPr>
              <a:t>Requirement Id: </a:t>
            </a:r>
            <a:r>
              <a:rPr lang="en-US" sz="1400" b="0">
                <a:solidFill>
                  <a:srgbClr val="000000"/>
                </a:solidFill>
                <a:effectLst/>
                <a:latin typeface="IBMPlexMono,  Courier New"/>
                <a:hlinkClick r:id="rId8"/>
              </a:rPr>
              <a:t>https://sr.oots.tech.europa.eu/requirements/1e0372b7-8343-4560-8f84-adb5eec410d6</a:t>
            </a:r>
            <a:br>
              <a:rPr lang="en-US" sz="1400" b="0">
                <a:solidFill>
                  <a:srgbClr val="000000"/>
                </a:solidFill>
                <a:effectLst/>
                <a:latin typeface="IBMPlexMono,  Courier New"/>
              </a:rPr>
            </a:br>
            <a:r>
              <a:rPr lang="en-US" sz="1400" b="0">
                <a:solidFill>
                  <a:srgbClr val="000000"/>
                </a:solidFill>
                <a:effectLst/>
                <a:latin typeface="IBMPlexMono,  Courier New"/>
              </a:rPr>
              <a:t>                             (Proof of Residence)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rgbClr val="000000"/>
                </a:solidFill>
                <a:latin typeface="IBMPlexMono,  Courier New"/>
              </a:rPr>
              <a:t>ET Classification: </a:t>
            </a:r>
            <a:r>
              <a:rPr lang="en-US" sz="1400" b="0">
                <a:solidFill>
                  <a:srgbClr val="000000"/>
                </a:solidFill>
                <a:effectLst/>
                <a:latin typeface="IBMPlexMono,  Courier New"/>
                <a:hlinkClick r:id="rId9"/>
              </a:rPr>
              <a:t>https://sr.oots.tech.europa.eu/evidencetypeclassifications/EU/d080dc98-46ae-4a00-a5f7-b54da000457a</a:t>
            </a:r>
            <a:br>
              <a:rPr lang="en-US" sz="1400" b="0">
                <a:solidFill>
                  <a:srgbClr val="000000"/>
                </a:solidFill>
                <a:effectLst/>
                <a:latin typeface="IBMPlexMono,  Courier New"/>
              </a:rPr>
            </a:br>
            <a:r>
              <a:rPr lang="en-US" sz="1400" b="0">
                <a:solidFill>
                  <a:srgbClr val="000000"/>
                </a:solidFill>
                <a:effectLst/>
                <a:latin typeface="IBMPlexMono,  Courier New"/>
              </a:rPr>
              <a:t>	              (EU-Wide Proof of Residence Certificate) 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rgbClr val="000000"/>
                </a:solidFill>
                <a:latin typeface="IBMPlexMono,  Courier New"/>
              </a:rPr>
              <a:t>Jurisdiction Codes: (SE) SE1, (DE) DE1, (EL) EL3, (CY)CY0, (SI) SI0, (IT) ITC, (LV) LV0, (LU) LU0, (AT) AT1, (FI) FI1, (NL) NL1, (PT) PT1                                   (EE) EE0, (IE) IE0, (RO) RO1, (HU) HU1, (LT) LT0</a:t>
            </a:r>
            <a:endParaRPr lang="en-US" sz="1600">
              <a:solidFill>
                <a:srgbClr val="000000"/>
              </a:solidFill>
              <a:latin typeface="IBMPlexMono,  Courier New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2200"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221397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(20200224)(CEF slide template)(v1.0)" id="{94F66E90-FCF5-48D0-B082-7E230ED280DD}" vid="{F555CA66-7B34-457E-A2A8-059EBB897834}"/>
    </a:ext>
  </a:extLst>
</a:theme>
</file>

<file path=ppt/theme/theme10.xml><?xml version="1.0" encoding="utf-8"?>
<a:theme xmlns:a="http://schemas.openxmlformats.org/drawingml/2006/main" name="2_Contenu">
  <a:themeElements>
    <a:clrScheme name="KEREVA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30613"/>
      </a:accent1>
      <a:accent2>
        <a:srgbClr val="98192C"/>
      </a:accent2>
      <a:accent3>
        <a:srgbClr val="502059"/>
      </a:accent3>
      <a:accent4>
        <a:srgbClr val="1E9A92"/>
      </a:accent4>
      <a:accent5>
        <a:srgbClr val="223A89"/>
      </a:accent5>
      <a:accent6>
        <a:srgbClr val="C6C6C5"/>
      </a:accent6>
      <a:hlink>
        <a:srgbClr val="0563C1"/>
      </a:hlink>
      <a:folHlink>
        <a:srgbClr val="954F72"/>
      </a:folHlink>
    </a:clrScheme>
    <a:fontScheme name="Personnalisé 3">
      <a:majorFont>
        <a:latin typeface="Comfortaa"/>
        <a:ea typeface=""/>
        <a:cs typeface=""/>
      </a:majorFont>
      <a:minorFont>
        <a:latin typeface="Comforta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alpha val="50000"/>
          </a:schemeClr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N_RESTRICTED-3.03" id="{8DBF5B71-CDC7-4E4B-81E0-8A3D16AA59E1}" vid="{61AA6AFB-3D82-4A99-9C20-D66069E7970F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EF Master Template">
  <a:themeElements>
    <a:clrScheme name="Custom 1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183A66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(20200224)(CEF slide template)(v1.0)" id="{94F66E90-FCF5-48D0-B082-7E230ED280DD}" vid="{F555CA66-7B34-457E-A2A8-059EBB897834}"/>
    </a:ext>
  </a:extLst>
</a:theme>
</file>

<file path=ppt/theme/theme5.xml><?xml version="1.0" encoding="utf-8"?>
<a:theme xmlns:a="http://schemas.openxmlformats.org/drawingml/2006/main" name="3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(EC.Mobile)(IMI)(v2.01)" id="{C7CC8F2D-5B5E-A34E-A5E4-0F9021CE2229}" vid="{2C109B5B-CAA2-E643-8C35-DFB7794F3804}"/>
    </a:ext>
  </a:extLst>
</a:theme>
</file>

<file path=ppt/theme/theme6.xml><?xml version="1.0" encoding="utf-8"?>
<a:theme xmlns:a="http://schemas.openxmlformats.org/drawingml/2006/main" name="6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Contenu">
  <a:themeElements>
    <a:clrScheme name="OOHUB">
      <a:dk1>
        <a:srgbClr val="001832"/>
      </a:dk1>
      <a:lt1>
        <a:srgbClr val="FFFFFF"/>
      </a:lt1>
      <a:dk2>
        <a:srgbClr val="3C5979"/>
      </a:dk2>
      <a:lt2>
        <a:srgbClr val="F4F3F2"/>
      </a:lt2>
      <a:accent1>
        <a:srgbClr val="832CB5"/>
      </a:accent1>
      <a:accent2>
        <a:srgbClr val="EC8FFF"/>
      </a:accent2>
      <a:accent3>
        <a:srgbClr val="FBC11D"/>
      </a:accent3>
      <a:accent4>
        <a:srgbClr val="004493"/>
      </a:accent4>
      <a:accent5>
        <a:srgbClr val="5D24A3"/>
      </a:accent5>
      <a:accent6>
        <a:srgbClr val="D234EE"/>
      </a:accent6>
      <a:hlink>
        <a:srgbClr val="832CB5"/>
      </a:hlink>
      <a:folHlink>
        <a:srgbClr val="5D24A3"/>
      </a:folHlink>
    </a:clrScheme>
    <a:fontScheme name="Personnalisé 3">
      <a:majorFont>
        <a:latin typeface="Comfortaa"/>
        <a:ea typeface=""/>
        <a:cs typeface=""/>
      </a:majorFont>
      <a:minorFont>
        <a:latin typeface="Comforta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_RESTREINT-3.03.potx" id="{1FE04B52-301F-40F7-9D2E-71ABD4A830D6}" vid="{E563548A-2E28-422C-A56C-D09867F00B9D}"/>
    </a:ext>
  </a:extLst>
</a:theme>
</file>

<file path=ppt/theme/theme9.xml><?xml version="1.0" encoding="utf-8"?>
<a:theme xmlns:a="http://schemas.openxmlformats.org/drawingml/2006/main" name="1_Contenu">
  <a:themeElements>
    <a:clrScheme name="KEREVA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30613"/>
      </a:accent1>
      <a:accent2>
        <a:srgbClr val="98192C"/>
      </a:accent2>
      <a:accent3>
        <a:srgbClr val="502059"/>
      </a:accent3>
      <a:accent4>
        <a:srgbClr val="1E9A92"/>
      </a:accent4>
      <a:accent5>
        <a:srgbClr val="223A89"/>
      </a:accent5>
      <a:accent6>
        <a:srgbClr val="C6C6C5"/>
      </a:accent6>
      <a:hlink>
        <a:srgbClr val="0563C1"/>
      </a:hlink>
      <a:folHlink>
        <a:srgbClr val="954F72"/>
      </a:folHlink>
    </a:clrScheme>
    <a:fontScheme name="Personnalisé 3">
      <a:majorFont>
        <a:latin typeface="Comfortaa"/>
        <a:ea typeface=""/>
        <a:cs typeface=""/>
      </a:majorFont>
      <a:minorFont>
        <a:latin typeface="Comforta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alpha val="50000"/>
          </a:schemeClr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N_RESTRICTED-3.03" id="{8DBF5B71-CDC7-4E4B-81E0-8A3D16AA59E1}" vid="{61AA6AFB-3D82-4A99-9C20-D66069E7970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af8c89d-4332-4d32-84a3-abf4120a8008" xsi:nil="true"/>
    <lcf76f155ced4ddcb4097134ff3c332f xmlns="9a9637e9-1c11-4ee9-91b8-f060e3608fb2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7B7BFF882854783B2AFEB81A9CCE9" ma:contentTypeVersion="8" ma:contentTypeDescription="Create a new document." ma:contentTypeScope="" ma:versionID="1187ec0e267c38231c2ba13474fe582e">
  <xsd:schema xmlns:xsd="http://www.w3.org/2001/XMLSchema" xmlns:xs="http://www.w3.org/2001/XMLSchema" xmlns:p="http://schemas.microsoft.com/office/2006/metadata/properties" xmlns:ns2="9a9637e9-1c11-4ee9-91b8-f060e3608fb2" xmlns:ns3="4af8c89d-4332-4d32-84a3-abf4120a8008" targetNamespace="http://schemas.microsoft.com/office/2006/metadata/properties" ma:root="true" ma:fieldsID="c4857eb20a6581aa9c2829552f90b9d7" ns2:_="" ns3:_="">
    <xsd:import namespace="9a9637e9-1c11-4ee9-91b8-f060e3608fb2"/>
    <xsd:import namespace="4af8c89d-4332-4d32-84a3-abf4120a800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9637e9-1c11-4ee9-91b8-f060e3608f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22b2fad6-9d2c-441c-a321-3f5f1e9bd9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f8c89d-4332-4d32-84a3-abf4120a800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75b2a03-4899-4a6a-9210-69166cdf2eeb}" ma:internalName="TaxCatchAll" ma:showField="CatchAllData" ma:web="4af8c89d-4332-4d32-84a3-abf4120a800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E816B0A-9B73-48F0-A750-B0B25DE89176}">
  <ds:schemaRefs>
    <ds:schemaRef ds:uri="4af8c89d-4332-4d32-84a3-abf4120a8008"/>
    <ds:schemaRef ds:uri="641315ca-0572-423e-bd92-cff020455c2a"/>
    <ds:schemaRef ds:uri="9a9637e9-1c11-4ee9-91b8-f060e3608fb2"/>
    <ds:schemaRef ds:uri="c104a7e3-e0a9-46cf-92ee-9b62dc9a36e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5F8F6B4-46A0-46CA-8934-D67622CB48BE}">
  <ds:schemaRefs>
    <ds:schemaRef ds:uri="4af8c89d-4332-4d32-84a3-abf4120a8008"/>
    <ds:schemaRef ds:uri="9a9637e9-1c11-4ee9-91b8-f060e3608fb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9051D72-EA38-4C01-817E-ED935F13A53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6</Slides>
  <Notes>14</Notes>
  <HiddenSlides>0</HiddenSlides>
  <ScaleCrop>false</ScaleCrop>
  <HeadingPairs>
    <vt:vector size="4" baseType="variant">
      <vt:variant>
        <vt:lpstr>Theme</vt:lpstr>
      </vt:variant>
      <vt:variant>
        <vt:i4>10</vt:i4>
      </vt:variant>
      <vt:variant>
        <vt:lpstr>Slide Titles</vt:lpstr>
      </vt:variant>
      <vt:variant>
        <vt:i4>16</vt:i4>
      </vt:variant>
    </vt:vector>
  </HeadingPairs>
  <TitlesOfParts>
    <vt:vector size="26" baseType="lpstr">
      <vt:lpstr>1_CEF Master Template</vt:lpstr>
      <vt:lpstr>2_CEF Master Template</vt:lpstr>
      <vt:lpstr>4_CEF Master Template</vt:lpstr>
      <vt:lpstr>5_CEF Master Template</vt:lpstr>
      <vt:lpstr>3_CEF Master Template</vt:lpstr>
      <vt:lpstr>6_CEF Master Template</vt:lpstr>
      <vt:lpstr>CEF Master Template</vt:lpstr>
      <vt:lpstr>Contenu</vt:lpstr>
      <vt:lpstr>1_Contenu</vt:lpstr>
      <vt:lpstr>2_Contenu</vt:lpstr>
      <vt:lpstr>PowerPoint Presentation</vt:lpstr>
      <vt:lpstr>Projectathon preparation: Access to Common Services management GUI</vt:lpstr>
      <vt:lpstr>Projectathon preparation: Connectivity testing</vt:lpstr>
      <vt:lpstr>Test data sets - status</vt:lpstr>
      <vt:lpstr>Test data baseline TC01 - Basic evidence request without preview</vt:lpstr>
      <vt:lpstr>Test data variation for TC02 - Basic evidence request without evidence match</vt:lpstr>
      <vt:lpstr>Test response variation for TC03 - Evidence request error flow - Base Registry error</vt:lpstr>
      <vt:lpstr>Test response variation for TC04 - Evidence request error flow due to Access Point error</vt:lpstr>
      <vt:lpstr>Test data variation for TC05 - Additional DSD conversation</vt:lpstr>
      <vt:lpstr>Test data variation for TC05 - Additional DSD conversation – Example CS Queries</vt:lpstr>
      <vt:lpstr>Test data variation for TC06 - Evidence request with preview + reauthentication</vt:lpstr>
      <vt:lpstr>Test data variation for TC07 - Preview and reauthentication at two different EPs</vt:lpstr>
      <vt:lpstr>Test data variation for TC08 - Evidence request with preview rejection by user + reauthentication</vt:lpstr>
      <vt:lpstr>Test data variation for TC09 - Evidence request with preview error (closure or timeout) + reauthentication</vt:lpstr>
      <vt:lpstr>Test data variation for TC10 - Preview including human readable transform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rmans, Alexander</dc:creator>
  <cp:revision>1</cp:revision>
  <dcterms:created xsi:type="dcterms:W3CDTF">2022-10-04T17:19:48Z</dcterms:created>
  <dcterms:modified xsi:type="dcterms:W3CDTF">2023-04-12T12:3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10-04T17:19:48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38ea12c7-cee7-485b-b63a-ff707976e532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7697B7BFF882854783B2AFEB81A9CCE9</vt:lpwstr>
  </property>
  <property fmtid="{D5CDD505-2E9C-101B-9397-08002B2CF9AE}" pid="10" name="MediaServiceImageTags">
    <vt:lpwstr/>
  </property>
  <property fmtid="{D5CDD505-2E9C-101B-9397-08002B2CF9AE}" pid="11" name="MSIP_Label_6bd9ddd1-4d20-43f6-abfa-fc3c07406f94_Enabled">
    <vt:lpwstr>true</vt:lpwstr>
  </property>
  <property fmtid="{D5CDD505-2E9C-101B-9397-08002B2CF9AE}" pid="12" name="MSIP_Label_6bd9ddd1-4d20-43f6-abfa-fc3c07406f94_SetDate">
    <vt:lpwstr>2022-11-30T18:19:09Z</vt:lpwstr>
  </property>
  <property fmtid="{D5CDD505-2E9C-101B-9397-08002B2CF9AE}" pid="13" name="MSIP_Label_6bd9ddd1-4d20-43f6-abfa-fc3c07406f94_Method">
    <vt:lpwstr>Standard</vt:lpwstr>
  </property>
  <property fmtid="{D5CDD505-2E9C-101B-9397-08002B2CF9AE}" pid="14" name="MSIP_Label_6bd9ddd1-4d20-43f6-abfa-fc3c07406f94_Name">
    <vt:lpwstr>Commission Use</vt:lpwstr>
  </property>
  <property fmtid="{D5CDD505-2E9C-101B-9397-08002B2CF9AE}" pid="15" name="MSIP_Label_6bd9ddd1-4d20-43f6-abfa-fc3c07406f94_SiteId">
    <vt:lpwstr>b24c8b06-522c-46fe-9080-70926f8dddb1</vt:lpwstr>
  </property>
  <property fmtid="{D5CDD505-2E9C-101B-9397-08002B2CF9AE}" pid="16" name="MSIP_Label_6bd9ddd1-4d20-43f6-abfa-fc3c07406f94_ActionId">
    <vt:lpwstr>bb115c11-364c-4737-8610-2756aa676b7e</vt:lpwstr>
  </property>
  <property fmtid="{D5CDD505-2E9C-101B-9397-08002B2CF9AE}" pid="17" name="MSIP_Label_6bd9ddd1-4d20-43f6-abfa-fc3c07406f94_ContentBits">
    <vt:lpwstr>0</vt:lpwstr>
  </property>
</Properties>
</file>